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452" r:id="rId2"/>
    <p:sldId id="491" r:id="rId3"/>
    <p:sldId id="486" r:id="rId4"/>
    <p:sldId id="484" r:id="rId5"/>
    <p:sldId id="498" r:id="rId6"/>
    <p:sldId id="497" r:id="rId7"/>
    <p:sldId id="454" r:id="rId8"/>
    <p:sldId id="447" r:id="rId9"/>
    <p:sldId id="442" r:id="rId10"/>
    <p:sldId id="443" r:id="rId11"/>
    <p:sldId id="489" r:id="rId12"/>
    <p:sldId id="499" r:id="rId13"/>
    <p:sldId id="415" r:id="rId14"/>
    <p:sldId id="481" r:id="rId15"/>
    <p:sldId id="495" r:id="rId16"/>
    <p:sldId id="496" r:id="rId17"/>
    <p:sldId id="468" r:id="rId18"/>
  </p:sldIdLst>
  <p:sldSz cx="12192000" cy="6858000"/>
  <p:notesSz cx="7104063" cy="10234613"/>
  <p:embeddedFontLst>
    <p:embeddedFont>
      <p:font typeface="Montserrat SemiBold" panose="020B0604020202020204" charset="0"/>
      <p:bold r:id="rId21"/>
      <p:boldItalic r:id="rId22"/>
    </p:embeddedFont>
    <p:embeddedFont>
      <p:font typeface="Wingdings 2" panose="05020102010507070707" pitchFamily="18" charset="2"/>
      <p:regular r:id="rId23"/>
    </p:embeddedFont>
    <p:embeddedFont>
      <p:font typeface="Montserrat" panose="020B0604020202020204" charset="0"/>
      <p:regular r:id="rId24"/>
      <p:bold r:id="rId25"/>
      <p:italic r:id="rId26"/>
      <p:boldItalic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Mongolian Baiti" panose="03000500000000000000" pitchFamily="66" charset="0"/>
      <p:regular r:id="rId32"/>
    </p:embeddedFont>
  </p:embeddedFontLst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aron Hanauer" initials="AH" lastIdx="1" clrIdx="0">
    <p:extLst>
      <p:ext uri="{19B8F6BF-5375-455C-9EA6-DF929625EA0E}">
        <p15:presenceInfo xmlns:p15="http://schemas.microsoft.com/office/powerpoint/2012/main" userId="Aaron Hanauer" providerId="None"/>
      </p:ext>
    </p:extLst>
  </p:cmAuthor>
  <p:cmAuthor id="2" name="Alexander Hanauer" initials="AH" lastIdx="1" clrIdx="1">
    <p:extLst>
      <p:ext uri="{19B8F6BF-5375-455C-9EA6-DF929625EA0E}">
        <p15:presenceInfo xmlns:p15="http://schemas.microsoft.com/office/powerpoint/2012/main" userId="Alexander Hanau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CDC"/>
    <a:srgbClr val="EEF1F3"/>
    <a:srgbClr val="DAF9F4"/>
    <a:srgbClr val="EEF2F5"/>
    <a:srgbClr val="B1BAC1"/>
    <a:srgbClr val="00E2D2"/>
    <a:srgbClr val="0096A5"/>
    <a:srgbClr val="FD3156"/>
    <a:srgbClr val="F4F7F9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339" autoAdjust="0"/>
  </p:normalViewPr>
  <p:slideViewPr>
    <p:cSldViewPr showGuides="1">
      <p:cViewPr varScale="1">
        <p:scale>
          <a:sx n="65" d="100"/>
          <a:sy n="65" d="100"/>
        </p:scale>
        <p:origin x="724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5" d="100"/>
          <a:sy n="75" d="100"/>
        </p:scale>
        <p:origin x="2315" y="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6.fntdata"/><Relationship Id="rId21" Type="http://schemas.openxmlformats.org/officeDocument/2006/relationships/font" Target="fonts/font1.fntdata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5.fntdata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2B4A3ED5-0242-4308-B00A-54E78AFE6D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3685884A-4A59-458A-85DD-28A47458D9B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8BA8239-9D64-4A23-B0EF-49463E3399F6}" type="datetimeFigureOut">
              <a:rPr lang="en-US" smtClean="0"/>
              <a:t>9/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668470B-5F66-4921-822F-EF68119D086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3C0833C-B735-45AA-A878-468CE58175A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80AAA4AB-5EFD-453B-A525-A799AEA10B0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9097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DE547F5-54C6-4866-8242-E71C2946F39C}" type="datetimeFigureOut">
              <a:rPr lang="de-DE" smtClean="0"/>
              <a:t>04.09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8C189B94-64C0-481E-9AC9-DE8E2D6876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7675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de-DE" sz="2000" dirty="0"/>
              <a:t>STEFAN https://docs.google.com/spreadsheets/d/1SZH5l16IQz0qvzXhfx_SH7wrKBehZ27nQXiB09eLXGk/edit?ts=5c509875#gid=0</a:t>
            </a:r>
          </a:p>
          <a:p>
            <a:pPr lvl="2"/>
            <a:endParaRPr lang="de-DE" sz="2000" dirty="0"/>
          </a:p>
          <a:p>
            <a:pPr lvl="2"/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sterreich</a:t>
            </a:r>
            <a:endParaRPr lang="de-DE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9433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gangslage des Unternehmens, je nach Demo-Partner zu befüllen von Vertriebler, eckige Klammern kennzeichnen d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91817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nbindung mit wesentlichen österreichischen ERP Anbietern bereits vorhanden –  Schnittstelle </a:t>
            </a:r>
            <a:r>
              <a:rPr lang="de-DE" dirty="0" err="1"/>
              <a:t>WoWis</a:t>
            </a:r>
            <a:r>
              <a:rPr lang="de-DE" dirty="0"/>
              <a:t>/Alfred ist gerade in Prüf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9167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98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2 Spalten bei Logo – sonst so gequetscht</a:t>
            </a:r>
          </a:p>
          <a:p>
            <a:endParaRPr lang="de-DE" dirty="0"/>
          </a:p>
          <a:p>
            <a:r>
              <a:rPr lang="de-DE" dirty="0"/>
              <a:t>Klare </a:t>
            </a:r>
            <a:r>
              <a:rPr lang="de-DE" dirty="0" err="1"/>
              <a:t>zuordnugn</a:t>
            </a:r>
            <a:r>
              <a:rPr lang="de-DE" dirty="0"/>
              <a:t> feh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189B94-64C0-481E-9AC9-DE8E2D6876EF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322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43738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4944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64684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ase: Schwabinger Tor</a:t>
            </a:r>
            <a:br>
              <a:rPr lang="de-DE" dirty="0"/>
            </a:br>
            <a:r>
              <a:rPr lang="de-DE" dirty="0"/>
              <a:t>Ziel: Immobilie attraktiv machen</a:t>
            </a:r>
          </a:p>
          <a:p>
            <a:r>
              <a:rPr lang="de-DE" dirty="0"/>
              <a:t>Seit 2016 / von Anfang an dabei</a:t>
            </a:r>
          </a:p>
          <a:p>
            <a:r>
              <a:rPr lang="de-DE" dirty="0"/>
              <a:t>Mittlerweile aktive Community: Mit 300 Mietern fast gesamte Community über App, Kommunikation mit Verwalter und untereinander. Digitaler Hausaushang. </a:t>
            </a:r>
          </a:p>
          <a:p>
            <a:r>
              <a:rPr lang="de-DE" dirty="0"/>
              <a:t>Treiben das Konzept weiter: Car Sharing, Sports Club, Restaurant.</a:t>
            </a:r>
          </a:p>
          <a:p>
            <a:r>
              <a:rPr lang="de-DE" dirty="0"/>
              <a:t>Community-Faktor, Mieter tauschen sich direkt miteinander aus, Digitaler Hausaushang</a:t>
            </a:r>
          </a:p>
          <a:p>
            <a:r>
              <a:rPr lang="de-DE" dirty="0"/>
              <a:t>Weitere Möglichkeiten:</a:t>
            </a:r>
          </a:p>
          <a:p>
            <a:r>
              <a:rPr lang="de-DE" dirty="0"/>
              <a:t>Raumbuchung</a:t>
            </a:r>
          </a:p>
          <a:p>
            <a:r>
              <a:rPr lang="de-DE" dirty="0" err="1"/>
              <a:t>WeWash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71292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545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61959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77226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gangslage des Unternehmens, je nach Demo-Partner zu befüllen von Vertriebler, eckige Klammern kennzeichnen da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189B94-64C0-481E-9AC9-DE8E2D6876EF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399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5.xml"/><Relationship Id="rId7" Type="http://schemas.openxmlformats.org/officeDocument/2006/relationships/image" Target="../media/image8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67.xml"/><Relationship Id="rId7" Type="http://schemas.openxmlformats.org/officeDocument/2006/relationships/image" Target="../media/image8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4FBB4B45-C28E-488A-8FB1-DDD5E73B9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46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3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xmlns="" id="{21697EED-69AA-4AAB-A1CB-F57B40DBD8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000" b="1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xmlns="" id="{14FE3C39-66B1-4457-A388-3DF66C8E6E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7324317" cy="6858000"/>
          </a:xfrm>
          <a:custGeom>
            <a:avLst/>
            <a:gdLst>
              <a:gd name="connsiteX0" fmla="*/ 0 w 7324317"/>
              <a:gd name="connsiteY0" fmla="*/ 0 h 6858000"/>
              <a:gd name="connsiteX1" fmla="*/ 7324317 w 7324317"/>
              <a:gd name="connsiteY1" fmla="*/ 0 h 6858000"/>
              <a:gd name="connsiteX2" fmla="*/ 5771964 w 7324317"/>
              <a:gd name="connsiteY2" fmla="*/ 6858000 h 6858000"/>
              <a:gd name="connsiteX3" fmla="*/ 0 w 73243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24317" h="6858000">
                <a:moveTo>
                  <a:pt x="0" y="0"/>
                </a:moveTo>
                <a:lnTo>
                  <a:pt x="7324317" y="0"/>
                </a:lnTo>
                <a:lnTo>
                  <a:pt x="5771964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8E19D507-6F75-42F0-A5E3-330B30520F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20136" y="1808820"/>
            <a:ext cx="4500389" cy="1620180"/>
          </a:xfrm>
        </p:spPr>
        <p:txBody>
          <a:bodyPr anchor="t">
            <a:noAutofit/>
          </a:bodyPr>
          <a:lstStyle>
            <a:lvl1pPr algn="l">
              <a:defRPr sz="3000" b="1">
                <a:solidFill>
                  <a:schemeClr val="accent3"/>
                </a:solidFill>
                <a:latin typeface="+mj-lt"/>
              </a:defRPr>
            </a:lvl1pPr>
            <a:lvl2pPr>
              <a:defRPr sz="3000">
                <a:latin typeface="+mn-lt"/>
              </a:defRPr>
            </a:lvl2pPr>
          </a:lstStyle>
          <a:p>
            <a:pPr lvl="0"/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in maximal vier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ED797E6A-CFEA-4015-81CC-6FFD0F20D3E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33648" y="4770046"/>
            <a:ext cx="4032448" cy="276999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 dirty="0"/>
              <a:t>Ort, Datum</a:t>
            </a:r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xmlns="" id="{01238652-2FE1-4A51-B2DB-7AD81703966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49411" y="255757"/>
            <a:ext cx="2071225" cy="612000"/>
            <a:chOff x="10163610" y="1419508"/>
            <a:chExt cx="1648228" cy="487014"/>
          </a:xfrm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xmlns="" id="{232935C8-8FA7-47A9-A1AE-65A5ECD9A05C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xmlns="" id="{17E9A2A2-06FE-42CC-83B1-5EE183B2B6CB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xmlns="" id="{F07A0A0F-46FE-4673-BB9C-D67C2B0C1EB0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xmlns="" id="{8072516C-85C3-4B70-81D3-F3E49A4E3151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xmlns="" id="{A8EA2502-C51A-401B-A6BD-ADFE27134E41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xmlns="" id="{B75CBBAC-3A83-435C-BB2A-45D9D3A746EC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xmlns="" id="{8C1EF183-39AC-4BD7-BDFF-A41C878413B5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37000">
                  <a:schemeClr val="accent3"/>
                </a:gs>
                <a:gs pos="100000">
                  <a:schemeClr val="accent2"/>
                </a:gs>
              </a:gsLst>
              <a:lin ang="18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xmlns="" id="{67891FFE-1B26-481C-A38A-E8B0A29604A8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xmlns="" id="{24586ADB-8A0B-4304-BBC7-64E54846B5B9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xmlns="" id="{9D9DC188-5DEC-4B99-B02F-6AE7739668DB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xmlns="" id="{5C0FBF42-F2C1-4F27-82DB-6CEFB252819E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xmlns="" id="{458CB1BC-441E-4BBA-85A7-7BD2A03957D6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xmlns="" id="{46BF797A-E827-4E8B-9AD6-B8959FE0B141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817144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Headline 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30150201-4045-4D6A-B130-B797FF5F4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84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0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4BB952DC-3D2A-4FA8-B3DC-7D2F879147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7738D415-E82C-4B07-A771-6B05F6247C5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364" y="1772908"/>
            <a:ext cx="5616000" cy="504000"/>
          </a:xfrm>
          <a:solidFill>
            <a:schemeClr val="tx1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A1778CFF-7A18-4BA9-B788-82C1DF3058E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364" y="2276908"/>
            <a:ext cx="5616000" cy="3671980"/>
          </a:xfrm>
          <a:solidFill>
            <a:schemeClr val="accent6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 sz="1400"/>
            </a:lvl3pPr>
            <a:lvl4pPr>
              <a:defRPr/>
            </a:lvl4pPr>
            <a:lvl5pPr>
              <a:defRPr sz="12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90AFDB9B-3B3D-43A9-8D5D-CE5D82C0DC8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04636" y="2276908"/>
            <a:ext cx="5616000" cy="3671980"/>
          </a:xfrm>
          <a:solidFill>
            <a:schemeClr val="accent6"/>
          </a:solidFill>
          <a:ln>
            <a:noFill/>
          </a:ln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 sz="1400"/>
            </a:lvl3pPr>
            <a:lvl4pPr>
              <a:defRPr/>
            </a:lvl4pPr>
            <a:lvl5pPr>
              <a:defRPr sz="12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xmlns="" id="{F8163A77-52DE-4304-B848-E83D4ECD9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5"/>
            <a:ext cx="9599533" cy="2492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C18749EC-BE7C-4C80-BC80-63EDF3A947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xmlns="" id="{1FBCFFB3-87A5-437D-ABB7-558686135F0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7E56A2B-EA01-42C7-9FB2-E8068A2B918D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xmlns="" id="{E671A8F2-C882-4395-B5DF-7448C56D1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xmlns="" id="{6F77BFAB-41CB-472C-9F52-3FC111A3B1D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04012" y="1772908"/>
            <a:ext cx="5616000" cy="504000"/>
          </a:xfrm>
          <a:solidFill>
            <a:schemeClr val="tx1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2428097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Headline zw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30150201-4045-4D6A-B130-B797FF5F4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67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46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xmlns="" id="{30150201-4045-4D6A-B130-B797FF5F4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4BB952DC-3D2A-4FA8-B3DC-7D2F879147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A1778CFF-7A18-4BA9-B788-82C1DF3058E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364" y="2420908"/>
            <a:ext cx="5616000" cy="3528000"/>
          </a:xfrm>
          <a:solidFill>
            <a:schemeClr val="accent6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 sz="1400"/>
            </a:lvl3pPr>
            <a:lvl4pPr>
              <a:defRPr/>
            </a:lvl4pPr>
            <a:lvl5pPr>
              <a:defRPr sz="12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90AFDB9B-3B3D-43A9-8D5D-CE5D82C0DC8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04636" y="2420908"/>
            <a:ext cx="5616000" cy="3528000"/>
          </a:xfrm>
          <a:solidFill>
            <a:schemeClr val="accent6"/>
          </a:solidFill>
          <a:ln>
            <a:noFill/>
          </a:ln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 sz="1400"/>
            </a:lvl3pPr>
            <a:lvl4pPr>
              <a:defRPr/>
            </a:lvl4pPr>
            <a:lvl5pPr>
              <a:defRPr sz="12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xmlns="" id="{F8163A77-52DE-4304-B848-E83D4ECD9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5"/>
            <a:ext cx="9599533" cy="2492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C18749EC-BE7C-4C80-BC80-63EDF3A947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xmlns="" id="{4C79084C-1B4A-4B11-92D5-589D1B3232D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65CC23E-4501-408C-B024-35FB3BAB3E80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xmlns="" id="{BBB741B8-5E86-43D5-858C-B17EA06FC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xmlns="" id="{A8067039-EED7-4D44-B89B-DDEEB877622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364" y="1772908"/>
            <a:ext cx="5616000" cy="648000"/>
          </a:xfrm>
          <a:solidFill>
            <a:schemeClr val="tx1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xmlns="" id="{4CA6746E-E8EA-4538-A828-E54F1C3FE02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04012" y="1772908"/>
            <a:ext cx="5616000" cy="648000"/>
          </a:xfrm>
          <a:solidFill>
            <a:schemeClr val="tx1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3265360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 Headline zw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30150201-4045-4D6A-B130-B797FF5F4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48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xmlns="" id="{30150201-4045-4D6A-B130-B797FF5F4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4BB952DC-3D2A-4FA8-B3DC-7D2F879147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A1778CFF-7A18-4BA9-B788-82C1DF3058E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364" y="2420908"/>
            <a:ext cx="3564396" cy="2448322"/>
          </a:xfrm>
          <a:solidFill>
            <a:schemeClr val="accent6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 sz="1400"/>
            </a:lvl3pPr>
            <a:lvl4pPr>
              <a:defRPr/>
            </a:lvl4pPr>
            <a:lvl5pPr>
              <a:defRPr sz="12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xmlns="" id="{F8163A77-52DE-4304-B848-E83D4ECD9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5"/>
            <a:ext cx="9599533" cy="2492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C18749EC-BE7C-4C80-BC80-63EDF3A947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xmlns="" id="{4C79084C-1B4A-4B11-92D5-589D1B3232D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65CC23E-4501-408C-B024-35FB3BAB3E80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xmlns="" id="{BBB741B8-5E86-43D5-858C-B17EA06FC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xmlns="" id="{A8067039-EED7-4D44-B89B-DDEEB877622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364" y="1772908"/>
            <a:ext cx="3564396" cy="648000"/>
          </a:xfrm>
          <a:solidFill>
            <a:schemeClr val="tx1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20" name="Inhaltsplatzhalter 3">
            <a:extLst>
              <a:ext uri="{FF2B5EF4-FFF2-40B4-BE49-F238E27FC236}">
                <a16:creationId xmlns:a16="http://schemas.microsoft.com/office/drawing/2014/main" xmlns="" id="{8C18EFE2-1804-4CF9-9719-EF6106CE6D7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4187788" y="2420908"/>
            <a:ext cx="3564396" cy="2448322"/>
          </a:xfrm>
          <a:solidFill>
            <a:schemeClr val="accent6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 sz="1400"/>
            </a:lvl3pPr>
            <a:lvl4pPr>
              <a:defRPr/>
            </a:lvl4pPr>
            <a:lvl5pPr>
              <a:defRPr sz="12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xmlns="" id="{5C8B9023-6BED-4277-BC71-D19E83E2EFA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187788" y="1772908"/>
            <a:ext cx="3564396" cy="648000"/>
          </a:xfrm>
          <a:solidFill>
            <a:schemeClr val="tx1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xmlns="" id="{AD7E70D1-BCC6-4550-B08D-0F0878E9996E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000319" y="2420908"/>
            <a:ext cx="3564396" cy="2448322"/>
          </a:xfrm>
          <a:solidFill>
            <a:schemeClr val="accent6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 sz="1400"/>
            </a:lvl3pPr>
            <a:lvl4pPr>
              <a:defRPr/>
            </a:lvl4pPr>
            <a:lvl5pPr>
              <a:defRPr sz="12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xmlns="" id="{A6C9C547-0064-4068-BE75-81DC13F5A1AB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000319" y="1772908"/>
            <a:ext cx="3564396" cy="648000"/>
          </a:xfrm>
          <a:solidFill>
            <a:schemeClr val="tx1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364940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rte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xmlns="" id="{666BCB83-FD02-427A-A999-9463371CE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65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7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xmlns="" id="{5CC5696C-B648-44C1-8F30-97FFD03ADC8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1" name="Freihandform: Form 11">
            <a:extLst>
              <a:ext uri="{FF2B5EF4-FFF2-40B4-BE49-F238E27FC236}">
                <a16:creationId xmlns:a16="http://schemas.microsoft.com/office/drawing/2014/main" xmlns="" id="{6C41F8CA-0078-4374-9036-98C2D323CE39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4D37EB69-52B2-4B05-859A-D333E781268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72682" y="1"/>
            <a:ext cx="7312177" cy="6436520"/>
          </a:xfrm>
          <a:custGeom>
            <a:avLst/>
            <a:gdLst>
              <a:gd name="connsiteX0" fmla="*/ 0 w 7312177"/>
              <a:gd name="connsiteY0" fmla="*/ 0 h 6436520"/>
              <a:gd name="connsiteX1" fmla="*/ 7312177 w 7312177"/>
              <a:gd name="connsiteY1" fmla="*/ 0 h 6436520"/>
              <a:gd name="connsiteX2" fmla="*/ 7312177 w 7312177"/>
              <a:gd name="connsiteY2" fmla="*/ 6198400 h 6436520"/>
              <a:gd name="connsiteX3" fmla="*/ 1449843 w 7312177"/>
              <a:gd name="connsiteY3" fmla="*/ 6436520 h 6436520"/>
              <a:gd name="connsiteX4" fmla="*/ 0 w 7312177"/>
              <a:gd name="connsiteY4" fmla="*/ 10698 h 643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12177" h="6436520">
                <a:moveTo>
                  <a:pt x="0" y="0"/>
                </a:moveTo>
                <a:lnTo>
                  <a:pt x="7312177" y="0"/>
                </a:lnTo>
                <a:lnTo>
                  <a:pt x="7312177" y="6198400"/>
                </a:lnTo>
                <a:lnTo>
                  <a:pt x="1449843" y="6436520"/>
                </a:lnTo>
                <a:lnTo>
                  <a:pt x="0" y="1069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C55595-5FAE-4DE7-AB61-14A50034E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4"/>
            <a:ext cx="4536000" cy="25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9E66DF44-59DB-4D84-AF9D-979B4A944D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772815"/>
            <a:ext cx="4537075" cy="4176000"/>
          </a:xfrm>
        </p:spPr>
        <p:txBody>
          <a:bodyPr/>
          <a:lstStyle>
            <a:lvl1pPr marL="324000" indent="-324000">
              <a:buClr>
                <a:schemeClr val="bg2"/>
              </a:buClr>
              <a:buSzPct val="90000"/>
              <a:buFont typeface="Wingdings 2" panose="05020102010507070707" pitchFamily="18" charset="2"/>
              <a:buChar char="Ë"/>
              <a:defRPr/>
            </a:lvl1pPr>
            <a:lvl2pPr marL="324000" indent="0">
              <a:buFont typeface="Arial" panose="020B0604020202020204" pitchFamily="34" charset="0"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300"/>
              </a:spcBef>
              <a:buNone/>
              <a:defRPr/>
            </a:lvl3pPr>
            <a:lvl4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200"/>
            </a:lvl4pPr>
            <a:lvl5pPr marL="0" indent="0">
              <a:lnSpc>
                <a:spcPct val="100000"/>
              </a:lnSpc>
              <a:spcBef>
                <a:spcPts val="300"/>
              </a:spcBef>
              <a:buNone/>
              <a:defRPr b="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spcBef>
                <a:spcPts val="300"/>
              </a:spcBef>
              <a:defRPr/>
            </a:lvl6pPr>
            <a:lvl7pPr>
              <a:lnSpc>
                <a:spcPct val="100000"/>
              </a:lnSpc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F77640EC-B413-4627-81A0-C05CB138ABB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173683" y="257100"/>
            <a:ext cx="1637500" cy="471600"/>
          </a:xfrm>
          <a:prstGeom prst="rect">
            <a:avLst/>
          </a:prstGeom>
        </p:spPr>
      </p:pic>
      <p:sp>
        <p:nvSpPr>
          <p:cNvPr id="16" name="Textplatzhalter 8">
            <a:extLst>
              <a:ext uri="{FF2B5EF4-FFF2-40B4-BE49-F238E27FC236}">
                <a16:creationId xmlns:a16="http://schemas.microsoft.com/office/drawing/2014/main" xmlns="" id="{B5DC91D2-3EA8-48A4-9224-196A7F8535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4537075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die Aussage in max. zwei Zeilen eingeb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xmlns="" id="{940553ED-9236-4642-87F4-F3B13541A6D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C6C8539-7C8C-414B-8008-2AE675021FC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5C3B5D9B-6611-42F3-BFCD-79F61FD2DD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082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C69142AB-F4F8-4EED-A315-7AAD196F1F8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192000" cy="6693331"/>
          </a:xfrm>
          <a:custGeom>
            <a:avLst/>
            <a:gdLst>
              <a:gd name="connsiteX0" fmla="*/ 0 w 12192000"/>
              <a:gd name="connsiteY0" fmla="*/ 0 h 6693331"/>
              <a:gd name="connsiteX1" fmla="*/ 12192000 w 12192000"/>
              <a:gd name="connsiteY1" fmla="*/ 0 h 6693331"/>
              <a:gd name="connsiteX2" fmla="*/ 12192000 w 12192000"/>
              <a:gd name="connsiteY2" fmla="*/ 6198111 h 6693331"/>
              <a:gd name="connsiteX3" fmla="*/ 0 w 12192000"/>
              <a:gd name="connsiteY3" fmla="*/ 6693331 h 6693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693331">
                <a:moveTo>
                  <a:pt x="0" y="0"/>
                </a:moveTo>
                <a:lnTo>
                  <a:pt x="12192000" y="0"/>
                </a:lnTo>
                <a:lnTo>
                  <a:pt x="12192000" y="6198111"/>
                </a:lnTo>
                <a:lnTo>
                  <a:pt x="0" y="669333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xmlns="" id="{DC013C93-2C81-4C79-AA5E-7403574517E6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65066CA-59FB-4867-8828-A505F1BD459F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5297CB4F-439E-45C9-BB69-A7D6FA0C9F5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6518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20963BD7-EDA4-431E-9973-D12F9C88A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799E8B-E17B-42E8-9538-4646A05FAFA6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35AD557-7744-4DBC-A56F-8B6D450C9D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reeform: Shape 22">
            <a:extLst>
              <a:ext uri="{FF2B5EF4-FFF2-40B4-BE49-F238E27FC236}">
                <a16:creationId xmlns:a16="http://schemas.microsoft.com/office/drawing/2014/main" xmlns="" id="{D4300E7E-1684-49FE-979C-E2E59ABA260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72682" y="1"/>
            <a:ext cx="7312177" cy="6436520"/>
          </a:xfrm>
          <a:custGeom>
            <a:avLst/>
            <a:gdLst>
              <a:gd name="connsiteX0" fmla="*/ 0 w 7312177"/>
              <a:gd name="connsiteY0" fmla="*/ 0 h 6436520"/>
              <a:gd name="connsiteX1" fmla="*/ 7312177 w 7312177"/>
              <a:gd name="connsiteY1" fmla="*/ 0 h 6436520"/>
              <a:gd name="connsiteX2" fmla="*/ 7312177 w 7312177"/>
              <a:gd name="connsiteY2" fmla="*/ 6198400 h 6436520"/>
              <a:gd name="connsiteX3" fmla="*/ 1449843 w 7312177"/>
              <a:gd name="connsiteY3" fmla="*/ 6436520 h 6436520"/>
              <a:gd name="connsiteX4" fmla="*/ 0 w 7312177"/>
              <a:gd name="connsiteY4" fmla="*/ 10698 h 643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12177" h="6436520">
                <a:moveTo>
                  <a:pt x="0" y="0"/>
                </a:moveTo>
                <a:lnTo>
                  <a:pt x="7312177" y="0"/>
                </a:lnTo>
                <a:lnTo>
                  <a:pt x="7312177" y="6198400"/>
                </a:lnTo>
                <a:lnTo>
                  <a:pt x="1449843" y="6436520"/>
                </a:lnTo>
                <a:lnTo>
                  <a:pt x="0" y="1069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xmlns="" id="{FF54E7A8-A171-4C86-A909-2BC4C0D02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4"/>
            <a:ext cx="4536000" cy="25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F24404F8-7AB4-428E-9FAD-DDAA003068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728749"/>
            <a:ext cx="4537075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den Namen des Ansprechpartner nenn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6204F526-E2E6-4032-9967-7B4DC8A263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1772815"/>
            <a:ext cx="4537075" cy="4176000"/>
          </a:xfrm>
        </p:spPr>
        <p:txBody>
          <a:bodyPr/>
          <a:lstStyle>
            <a:lvl1pPr marL="0" indent="0">
              <a:buNone/>
              <a:defRPr lang="de-DE" sz="2000" b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lvl="0" indent="0">
              <a:buNone/>
            </a:pPr>
            <a:r>
              <a:rPr lang="de-DE" sz="2000" b="0">
                <a:solidFill>
                  <a:schemeClr val="accent1"/>
                </a:solidFill>
                <a:latin typeface="+mn-lt"/>
              </a:rPr>
              <a:t>Mastertextformat bearbeit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xmlns="" id="{B9E6766E-4244-44C3-BFE3-B19E09F952EA}"/>
              </a:ext>
            </a:extLst>
          </p:cNvPr>
          <p:cNvSpPr txBox="1"/>
          <p:nvPr userDrawn="1"/>
        </p:nvSpPr>
        <p:spPr>
          <a:xfrm>
            <a:off x="1559354" y="3717032"/>
            <a:ext cx="2160240" cy="20313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r>
              <a:rPr lang="de-DE" dirty="0"/>
              <a:t>BILD des Vertrieblers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034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1D499064-7ECB-4FC4-8004-4590CF5A90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A5F80-8902-45CF-BF0A-900054EA3A02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B1E50208-2DA5-4833-84D5-BA61B34B51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801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0CA50D35-E576-4F34-A312-99260A7512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896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762333C2-AB8C-4A33-8E1E-508202AD00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000" b="1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xmlns="" id="{03C16230-F411-4223-8D29-019465434FE1}"/>
              </a:ext>
            </a:extLst>
          </p:cNvPr>
          <p:cNvSpPr/>
          <p:nvPr userDrawn="1"/>
        </p:nvSpPr>
        <p:spPr>
          <a:xfrm>
            <a:off x="5771964" y="0"/>
            <a:ext cx="6420036" cy="6858000"/>
          </a:xfrm>
          <a:custGeom>
            <a:avLst/>
            <a:gdLst>
              <a:gd name="connsiteX0" fmla="*/ 0 w 6420036"/>
              <a:gd name="connsiteY0" fmla="*/ 0 h 6858000"/>
              <a:gd name="connsiteX1" fmla="*/ 6420036 w 6420036"/>
              <a:gd name="connsiteY1" fmla="*/ 0 h 6858000"/>
              <a:gd name="connsiteX2" fmla="*/ 6420036 w 6420036"/>
              <a:gd name="connsiteY2" fmla="*/ 6858000 h 6858000"/>
              <a:gd name="connsiteX3" fmla="*/ 0 w 6420036"/>
              <a:gd name="connsiteY3" fmla="*/ 6858000 h 6858000"/>
              <a:gd name="connsiteX4" fmla="*/ 0 w 6420036"/>
              <a:gd name="connsiteY4" fmla="*/ 0 h 6858000"/>
              <a:gd name="connsiteX0" fmla="*/ 2456121 w 6420036"/>
              <a:gd name="connsiteY0" fmla="*/ 0 h 6858000"/>
              <a:gd name="connsiteX1" fmla="*/ 6420036 w 6420036"/>
              <a:gd name="connsiteY1" fmla="*/ 0 h 6858000"/>
              <a:gd name="connsiteX2" fmla="*/ 6420036 w 6420036"/>
              <a:gd name="connsiteY2" fmla="*/ 6858000 h 6858000"/>
              <a:gd name="connsiteX3" fmla="*/ 0 w 6420036"/>
              <a:gd name="connsiteY3" fmla="*/ 6858000 h 6858000"/>
              <a:gd name="connsiteX4" fmla="*/ 2456121 w 6420036"/>
              <a:gd name="connsiteY4" fmla="*/ 0 h 6858000"/>
              <a:gd name="connsiteX0" fmla="*/ 1552353 w 6420036"/>
              <a:gd name="connsiteY0" fmla="*/ 0 h 6858000"/>
              <a:gd name="connsiteX1" fmla="*/ 6420036 w 6420036"/>
              <a:gd name="connsiteY1" fmla="*/ 0 h 6858000"/>
              <a:gd name="connsiteX2" fmla="*/ 6420036 w 6420036"/>
              <a:gd name="connsiteY2" fmla="*/ 6858000 h 6858000"/>
              <a:gd name="connsiteX3" fmla="*/ 0 w 6420036"/>
              <a:gd name="connsiteY3" fmla="*/ 6858000 h 6858000"/>
              <a:gd name="connsiteX4" fmla="*/ 1552353 w 642003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20036" h="6858000">
                <a:moveTo>
                  <a:pt x="1552353" y="0"/>
                </a:moveTo>
                <a:lnTo>
                  <a:pt x="6420036" y="0"/>
                </a:lnTo>
                <a:lnTo>
                  <a:pt x="6420036" y="6858000"/>
                </a:lnTo>
                <a:lnTo>
                  <a:pt x="0" y="6858000"/>
                </a:lnTo>
                <a:lnTo>
                  <a:pt x="1552353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8E19D507-6F75-42F0-A5E3-330B30520F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20136" y="1808820"/>
            <a:ext cx="4500389" cy="1620180"/>
          </a:xfrm>
        </p:spPr>
        <p:txBody>
          <a:bodyPr anchor="t">
            <a:noAutofit/>
          </a:bodyPr>
          <a:lstStyle>
            <a:lvl1pPr algn="l">
              <a:defRPr sz="3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in maximal vier Zeil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CCF83CA4-AB1E-4F05-BC74-40B5162E44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7324317" cy="6858000"/>
          </a:xfrm>
          <a:custGeom>
            <a:avLst/>
            <a:gdLst>
              <a:gd name="connsiteX0" fmla="*/ 0 w 7324317"/>
              <a:gd name="connsiteY0" fmla="*/ 0 h 6858000"/>
              <a:gd name="connsiteX1" fmla="*/ 7324317 w 7324317"/>
              <a:gd name="connsiteY1" fmla="*/ 0 h 6858000"/>
              <a:gd name="connsiteX2" fmla="*/ 5771964 w 7324317"/>
              <a:gd name="connsiteY2" fmla="*/ 6858000 h 6858000"/>
              <a:gd name="connsiteX3" fmla="*/ 0 w 73243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24317" h="6858000">
                <a:moveTo>
                  <a:pt x="0" y="0"/>
                </a:moveTo>
                <a:lnTo>
                  <a:pt x="7324317" y="0"/>
                </a:lnTo>
                <a:lnTo>
                  <a:pt x="5771964" y="6858000"/>
                </a:lnTo>
                <a:lnTo>
                  <a:pt x="0" y="685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xmlns="" id="{17639F71-9976-476D-B772-36DB6236E17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33648" y="4770046"/>
            <a:ext cx="4032448" cy="276999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accent3"/>
                </a:solidFill>
                <a:latin typeface="+mn-lt"/>
              </a:defRPr>
            </a:lvl9pPr>
          </a:lstStyle>
          <a:p>
            <a:r>
              <a:rPr lang="de-DE" dirty="0"/>
              <a:t>Ort, Datu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F3A2716C-D176-468A-8426-733A22D8B2A1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748800" y="255600"/>
            <a:ext cx="2070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07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reit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7EA1CB2D-3936-4DFA-8F7B-972E1CBAD9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214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0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D217D75D-622E-4515-BAF5-186025DBFF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3000" b="1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8E19D507-6F75-42F0-A5E3-330B30520F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0" y="1808820"/>
            <a:ext cx="5724636" cy="1512168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in 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ED797E6A-CFEA-4015-81CC-6FFD0F20D3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3428933"/>
            <a:ext cx="5724525" cy="801017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accent3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xmlns="" id="{6BEA8870-BC54-4FA4-803F-EFED2534BA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877508" cy="6858000"/>
          </a:xfrm>
          <a:custGeom>
            <a:avLst/>
            <a:gdLst>
              <a:gd name="connsiteX0" fmla="*/ 0 w 5877508"/>
              <a:gd name="connsiteY0" fmla="*/ 0 h 6858000"/>
              <a:gd name="connsiteX1" fmla="*/ 5877508 w 5877508"/>
              <a:gd name="connsiteY1" fmla="*/ 0 h 6858000"/>
              <a:gd name="connsiteX2" fmla="*/ 4363610 w 5877508"/>
              <a:gd name="connsiteY2" fmla="*/ 6858000 h 6858000"/>
              <a:gd name="connsiteX3" fmla="*/ 0 w 58775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77508" h="6858000">
                <a:moveTo>
                  <a:pt x="0" y="0"/>
                </a:moveTo>
                <a:lnTo>
                  <a:pt x="5877508" y="0"/>
                </a:lnTo>
                <a:lnTo>
                  <a:pt x="436361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xmlns="" id="{AB6281E6-A5B0-4793-9898-D9852B3D40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4770046"/>
            <a:ext cx="5724636" cy="75185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Datum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xmlns="" id="{9BB24173-B1D2-40F0-B9EC-C61EFB9DB5F3}"/>
              </a:ext>
            </a:extLst>
          </p:cNvPr>
          <p:cNvPicPr>
            <a:picLocks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748800" y="255600"/>
            <a:ext cx="2070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56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3C66B82E-695A-4186-B3E0-24B40E8C2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481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94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ihandform: Form 6">
            <a:extLst>
              <a:ext uri="{FF2B5EF4-FFF2-40B4-BE49-F238E27FC236}">
                <a16:creationId xmlns:a16="http://schemas.microsoft.com/office/drawing/2014/main" xmlns="" id="{D5CA6AD0-9C48-4FBF-9C76-3A167126D05A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xmlns="" id="{9C28FC76-E03E-4016-B203-BF7362615D31}"/>
              </a:ext>
            </a:extLst>
          </p:cNvPr>
          <p:cNvGrpSpPr/>
          <p:nvPr userDrawn="1"/>
        </p:nvGrpSpPr>
        <p:grpSpPr>
          <a:xfrm>
            <a:off x="10163610" y="255757"/>
            <a:ext cx="1648228" cy="487014"/>
            <a:chOff x="10163610" y="1419508"/>
            <a:chExt cx="1648228" cy="487014"/>
          </a:xfrm>
          <a:solidFill>
            <a:schemeClr val="bg1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15C1E7B0-DBD0-47BA-A94E-272BAE2710B9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F6F90E4D-F999-4CD6-B3C9-FF0E8B5B0309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xmlns="" id="{21AE4016-764B-43A5-A35D-8337A9B106CE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F3A4CB29-C675-4722-8B57-B9815556D0A0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xmlns="" id="{446E4979-10AC-4CEC-A761-7CE3338EF6B1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xmlns="" id="{D5B88B73-B741-44F1-89E2-1C040151EEE5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xmlns="" id="{97505AAB-2601-470E-A5FC-67EDF836C6DE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xmlns="" id="{73F10DF3-15BE-4FF4-905C-DED7111ABA7E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D62C3823-6C28-4894-A89B-D5D1D86B31E2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B49F1E10-A4C7-4F69-9A5F-DC37698435A4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E3525E00-D66B-461F-8A17-2BB05B685312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0F2EAF45-FD86-48E9-826E-633847B270A4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D1D99641-4323-4CE2-A929-421916E3E9E3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8" name="Textplatzhalter 10">
            <a:extLst>
              <a:ext uri="{FF2B5EF4-FFF2-40B4-BE49-F238E27FC236}">
                <a16:creationId xmlns:a16="http://schemas.microsoft.com/office/drawing/2014/main" xmlns="" id="{B3D7E6A5-A847-438E-A644-2D087F1CA8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69708" y="2868096"/>
            <a:ext cx="4652583" cy="1121809"/>
          </a:xfrm>
          <a:noFill/>
        </p:spPr>
        <p:txBody>
          <a:bodyPr wrap="none" lIns="144000" tIns="144000" rIns="144000" bIns="144000" anchor="ctr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400" b="1">
                <a:solidFill>
                  <a:schemeClr val="accent3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chemeClr val="accent3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accent3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accent3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xmlns="" id="{FDE46604-6204-47CE-A880-4E6DA03F772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FEA10C7-20F0-4DF7-A499-D39E91C008AE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29" name="Foliennummernplatzhalter 28">
            <a:extLst>
              <a:ext uri="{FF2B5EF4-FFF2-40B4-BE49-F238E27FC236}">
                <a16:creationId xmlns:a16="http://schemas.microsoft.com/office/drawing/2014/main" xmlns="" id="{A4FDB6E2-29EE-4850-B606-219ADFEDA2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03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re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0647E1F1-8779-4C27-9888-DA2D5BB4D8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162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5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33A3E6B9-955F-43CE-97FF-E40E2D1F58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3000" b="1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xmlns="" id="{D1D384B3-B3E7-4CB8-94D4-971ABFF516E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877508" cy="6858000"/>
          </a:xfrm>
          <a:custGeom>
            <a:avLst/>
            <a:gdLst>
              <a:gd name="connsiteX0" fmla="*/ 0 w 5877508"/>
              <a:gd name="connsiteY0" fmla="*/ 0 h 6858000"/>
              <a:gd name="connsiteX1" fmla="*/ 5877508 w 5877508"/>
              <a:gd name="connsiteY1" fmla="*/ 0 h 6858000"/>
              <a:gd name="connsiteX2" fmla="*/ 4363610 w 5877508"/>
              <a:gd name="connsiteY2" fmla="*/ 6858000 h 6858000"/>
              <a:gd name="connsiteX3" fmla="*/ 0 w 58775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77508" h="6858000">
                <a:moveTo>
                  <a:pt x="0" y="0"/>
                </a:moveTo>
                <a:lnTo>
                  <a:pt x="5877508" y="0"/>
                </a:lnTo>
                <a:lnTo>
                  <a:pt x="436361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8E19D507-6F75-42F0-A5E3-330B30520F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0" y="1808820"/>
            <a:ext cx="5724636" cy="1512168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 b="1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in 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ED797E6A-CFEA-4015-81CC-6FFD0F20D3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3428933"/>
            <a:ext cx="5724525" cy="801017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xmlns="" id="{AC6DDB40-4DA8-4E4D-B3CE-C348B39B263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49411" y="255757"/>
            <a:ext cx="2071225" cy="612000"/>
            <a:chOff x="10163610" y="1419508"/>
            <a:chExt cx="1648228" cy="487014"/>
          </a:xfrm>
        </p:grpSpPr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xmlns="" id="{05C6E9F4-6725-4CD7-BEEA-86E6637D4768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xmlns="" id="{E1019EED-E5DF-44FD-9254-1759993C197A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xmlns="" id="{EBE17036-0F40-44AC-A2BC-A800F0918DB7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xmlns="" id="{2AA96C93-2836-4540-A3A0-E9C63993B9F0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xmlns="" id="{97A42AA4-0FBD-4A77-AF93-5EAF89C7C9C8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xmlns="" id="{D6A63EBF-2D9E-40B8-99FF-C36B2A43D7FF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xmlns="" id="{442E3ACA-31EF-4CF9-BE01-E7795A02E98D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37000">
                  <a:schemeClr val="accent3"/>
                </a:gs>
                <a:gs pos="100000">
                  <a:schemeClr val="accent2"/>
                </a:gs>
              </a:gsLst>
              <a:lin ang="18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xmlns="" id="{F1F0EF1C-F2BC-4E80-90A8-09EFCD4F39FA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xmlns="" id="{F67ACCB6-0097-4BF5-AC84-278AE625C34B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xmlns="" id="{21FDD572-0492-4EFE-8045-D25E8424E6C6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xmlns="" id="{B7124977-48A9-46EC-A458-6B42A14D2347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xmlns="" id="{E0B124CB-EB00-4FFF-8DFA-1C1CC6CA86A0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xmlns="" id="{E5B912F0-8FA2-43CD-B868-1D6540D18A18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4" name="Untertitel 2">
            <a:extLst>
              <a:ext uri="{FF2B5EF4-FFF2-40B4-BE49-F238E27FC236}">
                <a16:creationId xmlns:a16="http://schemas.microsoft.com/office/drawing/2014/main" xmlns="" id="{3C6F8D58-8DD1-45F9-A390-263D1C2FD63B}"/>
              </a:ext>
            </a:extLst>
          </p:cNvPr>
          <p:cNvSpPr txBox="1">
            <a:spLocks/>
          </p:cNvSpPr>
          <p:nvPr userDrawn="1"/>
        </p:nvSpPr>
        <p:spPr>
          <a:xfrm>
            <a:off x="6096000" y="5442371"/>
            <a:ext cx="4032448" cy="8010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Tx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+mj-lt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7250517C-66BD-46C8-A6B6-1BBF3C9A0E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4770046"/>
            <a:ext cx="5724636" cy="75185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271118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renner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3C66B82E-695A-4186-B3E0-24B40E8C2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7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xmlns="" id="{3C66B82E-695A-4186-B3E0-24B40E8C2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ihandform: Form 6">
            <a:extLst>
              <a:ext uri="{FF2B5EF4-FFF2-40B4-BE49-F238E27FC236}">
                <a16:creationId xmlns:a16="http://schemas.microsoft.com/office/drawing/2014/main" xmlns="" id="{D5CA6AD0-9C48-4FBF-9C76-3A167126D05A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xmlns="" id="{9C28FC76-E03E-4016-B203-BF7362615D31}"/>
              </a:ext>
            </a:extLst>
          </p:cNvPr>
          <p:cNvGrpSpPr/>
          <p:nvPr userDrawn="1"/>
        </p:nvGrpSpPr>
        <p:grpSpPr>
          <a:xfrm>
            <a:off x="10163610" y="255757"/>
            <a:ext cx="1648228" cy="487014"/>
            <a:chOff x="10163610" y="1419508"/>
            <a:chExt cx="1648228" cy="487014"/>
          </a:xfrm>
          <a:solidFill>
            <a:schemeClr val="bg1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15C1E7B0-DBD0-47BA-A94E-272BAE2710B9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F6F90E4D-F999-4CD6-B3C9-FF0E8B5B0309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xmlns="" id="{21AE4016-764B-43A5-A35D-8337A9B106CE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F3A4CB29-C675-4722-8B57-B9815556D0A0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xmlns="" id="{446E4979-10AC-4CEC-A761-7CE3338EF6B1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xmlns="" id="{D5B88B73-B741-44F1-89E2-1C040151EEE5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xmlns="" id="{97505AAB-2601-470E-A5FC-67EDF836C6DE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xmlns="" id="{73F10DF3-15BE-4FF4-905C-DED7111ABA7E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D62C3823-6C28-4894-A89B-D5D1D86B31E2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B49F1E10-A4C7-4F69-9A5F-DC37698435A4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E3525E00-D66B-461F-8A17-2BB05B685312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0F2EAF45-FD86-48E9-826E-633847B270A4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D1D99641-4323-4CE2-A929-421916E3E9E3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8" name="Textplatzhalter 10">
            <a:extLst>
              <a:ext uri="{FF2B5EF4-FFF2-40B4-BE49-F238E27FC236}">
                <a16:creationId xmlns:a16="http://schemas.microsoft.com/office/drawing/2014/main" xmlns="" id="{B3D7E6A5-A847-438E-A644-2D087F1CA8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69708" y="2868096"/>
            <a:ext cx="4652583" cy="1121809"/>
          </a:xfrm>
          <a:noFill/>
        </p:spPr>
        <p:txBody>
          <a:bodyPr wrap="none" lIns="144000" tIns="144000" rIns="144000" bIns="144000" anchor="ctr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400" b="1">
                <a:solidFill>
                  <a:schemeClr val="accent3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chemeClr val="accent3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accent3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accent3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xmlns="" id="{FDE46604-6204-47CE-A880-4E6DA03F772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72F9FC11-76CB-431B-905F-5D87740F6CFE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29" name="Foliennummernplatzhalter 28">
            <a:extLst>
              <a:ext uri="{FF2B5EF4-FFF2-40B4-BE49-F238E27FC236}">
                <a16:creationId xmlns:a16="http://schemas.microsoft.com/office/drawing/2014/main" xmlns="" id="{A4FDB6E2-29EE-4850-B606-219ADFEDA2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6" name="Group 11">
            <a:extLst>
              <a:ext uri="{FF2B5EF4-FFF2-40B4-BE49-F238E27FC236}">
                <a16:creationId xmlns:a16="http://schemas.microsoft.com/office/drawing/2014/main" xmlns="" id="{A9945830-3AA3-4DA8-BEDE-FDF31B1E12E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2345" y="1188790"/>
            <a:ext cx="1639887" cy="1187450"/>
            <a:chOff x="3321" y="1787"/>
            <a:chExt cx="1033" cy="748"/>
          </a:xfrm>
          <a:solidFill>
            <a:schemeClr val="accent5">
              <a:lumMod val="60000"/>
              <a:lumOff val="40000"/>
              <a:alpha val="16000"/>
            </a:schemeClr>
          </a:solidFill>
        </p:grpSpPr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xmlns="" id="{9189C699-F78C-4137-98FE-1F72EC207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" y="1871"/>
              <a:ext cx="56" cy="52"/>
            </a:xfrm>
            <a:custGeom>
              <a:avLst/>
              <a:gdLst>
                <a:gd name="T0" fmla="*/ 18 w 27"/>
                <a:gd name="T1" fmla="*/ 0 h 25"/>
                <a:gd name="T2" fmla="*/ 9 w 27"/>
                <a:gd name="T3" fmla="*/ 0 h 25"/>
                <a:gd name="T4" fmla="*/ 0 w 27"/>
                <a:gd name="T5" fmla="*/ 9 h 25"/>
                <a:gd name="T6" fmla="*/ 0 w 27"/>
                <a:gd name="T7" fmla="*/ 15 h 25"/>
                <a:gd name="T8" fmla="*/ 9 w 27"/>
                <a:gd name="T9" fmla="*/ 25 h 25"/>
                <a:gd name="T10" fmla="*/ 18 w 27"/>
                <a:gd name="T11" fmla="*/ 25 h 25"/>
                <a:gd name="T12" fmla="*/ 27 w 27"/>
                <a:gd name="T13" fmla="*/ 15 h 25"/>
                <a:gd name="T14" fmla="*/ 27 w 27"/>
                <a:gd name="T15" fmla="*/ 9 h 25"/>
                <a:gd name="T16" fmla="*/ 18 w 27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5">
                  <a:moveTo>
                    <a:pt x="1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0"/>
                    <a:pt x="4" y="25"/>
                    <a:pt x="9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25"/>
                    <a:pt x="27" y="20"/>
                    <a:pt x="27" y="1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4"/>
                    <a:pt x="23" y="0"/>
                    <a:pt x="1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xmlns="" id="{94F7FF6B-0992-4B66-9DA1-DA85FFFAA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1871"/>
              <a:ext cx="56" cy="52"/>
            </a:xfrm>
            <a:custGeom>
              <a:avLst/>
              <a:gdLst>
                <a:gd name="T0" fmla="*/ 18 w 27"/>
                <a:gd name="T1" fmla="*/ 0 h 25"/>
                <a:gd name="T2" fmla="*/ 9 w 27"/>
                <a:gd name="T3" fmla="*/ 0 h 25"/>
                <a:gd name="T4" fmla="*/ 0 w 27"/>
                <a:gd name="T5" fmla="*/ 9 h 25"/>
                <a:gd name="T6" fmla="*/ 0 w 27"/>
                <a:gd name="T7" fmla="*/ 15 h 25"/>
                <a:gd name="T8" fmla="*/ 9 w 27"/>
                <a:gd name="T9" fmla="*/ 25 h 25"/>
                <a:gd name="T10" fmla="*/ 18 w 27"/>
                <a:gd name="T11" fmla="*/ 25 h 25"/>
                <a:gd name="T12" fmla="*/ 27 w 27"/>
                <a:gd name="T13" fmla="*/ 15 h 25"/>
                <a:gd name="T14" fmla="*/ 27 w 27"/>
                <a:gd name="T15" fmla="*/ 9 h 25"/>
                <a:gd name="T16" fmla="*/ 18 w 27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5">
                  <a:moveTo>
                    <a:pt x="1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0"/>
                    <a:pt x="4" y="25"/>
                    <a:pt x="9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25"/>
                    <a:pt x="27" y="20"/>
                    <a:pt x="27" y="1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4"/>
                    <a:pt x="23" y="0"/>
                    <a:pt x="1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xmlns="" id="{497FCA65-4589-4B71-9E26-F1CCE0E95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" y="1871"/>
              <a:ext cx="56" cy="52"/>
            </a:xfrm>
            <a:custGeom>
              <a:avLst/>
              <a:gdLst>
                <a:gd name="T0" fmla="*/ 18 w 27"/>
                <a:gd name="T1" fmla="*/ 0 h 25"/>
                <a:gd name="T2" fmla="*/ 9 w 27"/>
                <a:gd name="T3" fmla="*/ 0 h 25"/>
                <a:gd name="T4" fmla="*/ 0 w 27"/>
                <a:gd name="T5" fmla="*/ 9 h 25"/>
                <a:gd name="T6" fmla="*/ 0 w 27"/>
                <a:gd name="T7" fmla="*/ 15 h 25"/>
                <a:gd name="T8" fmla="*/ 9 w 27"/>
                <a:gd name="T9" fmla="*/ 25 h 25"/>
                <a:gd name="T10" fmla="*/ 18 w 27"/>
                <a:gd name="T11" fmla="*/ 25 h 25"/>
                <a:gd name="T12" fmla="*/ 27 w 27"/>
                <a:gd name="T13" fmla="*/ 15 h 25"/>
                <a:gd name="T14" fmla="*/ 27 w 27"/>
                <a:gd name="T15" fmla="*/ 9 h 25"/>
                <a:gd name="T16" fmla="*/ 18 w 27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5">
                  <a:moveTo>
                    <a:pt x="1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0"/>
                    <a:pt x="4" y="25"/>
                    <a:pt x="9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25"/>
                    <a:pt x="27" y="20"/>
                    <a:pt x="27" y="1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4"/>
                    <a:pt x="23" y="0"/>
                    <a:pt x="1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xmlns="" id="{1061F91F-584C-41CD-B1E5-232F7EB7A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" y="2088"/>
              <a:ext cx="332" cy="48"/>
            </a:xfrm>
            <a:custGeom>
              <a:avLst/>
              <a:gdLst>
                <a:gd name="T0" fmla="*/ 149 w 159"/>
                <a:gd name="T1" fmla="*/ 0 h 23"/>
                <a:gd name="T2" fmla="*/ 9 w 159"/>
                <a:gd name="T3" fmla="*/ 0 h 23"/>
                <a:gd name="T4" fmla="*/ 0 w 159"/>
                <a:gd name="T5" fmla="*/ 9 h 23"/>
                <a:gd name="T6" fmla="*/ 0 w 159"/>
                <a:gd name="T7" fmla="*/ 14 h 23"/>
                <a:gd name="T8" fmla="*/ 9 w 159"/>
                <a:gd name="T9" fmla="*/ 23 h 23"/>
                <a:gd name="T10" fmla="*/ 149 w 159"/>
                <a:gd name="T11" fmla="*/ 23 h 23"/>
                <a:gd name="T12" fmla="*/ 159 w 159"/>
                <a:gd name="T13" fmla="*/ 14 h 23"/>
                <a:gd name="T14" fmla="*/ 159 w 159"/>
                <a:gd name="T15" fmla="*/ 9 h 23"/>
                <a:gd name="T16" fmla="*/ 149 w 159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23">
                  <a:moveTo>
                    <a:pt x="14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9"/>
                    <a:pt x="4" y="23"/>
                    <a:pt x="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55" y="23"/>
                    <a:pt x="159" y="19"/>
                    <a:pt x="159" y="14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4"/>
                    <a:pt x="155" y="0"/>
                    <a:pt x="14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16">
              <a:extLst>
                <a:ext uri="{FF2B5EF4-FFF2-40B4-BE49-F238E27FC236}">
                  <a16:creationId xmlns:a16="http://schemas.microsoft.com/office/drawing/2014/main" xmlns="" id="{D557E20F-4D27-4CE2-92A5-5DAF5E4C0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" y="2184"/>
              <a:ext cx="204" cy="48"/>
            </a:xfrm>
            <a:custGeom>
              <a:avLst/>
              <a:gdLst>
                <a:gd name="T0" fmla="*/ 88 w 98"/>
                <a:gd name="T1" fmla="*/ 0 h 23"/>
                <a:gd name="T2" fmla="*/ 9 w 98"/>
                <a:gd name="T3" fmla="*/ 0 h 23"/>
                <a:gd name="T4" fmla="*/ 0 w 98"/>
                <a:gd name="T5" fmla="*/ 9 h 23"/>
                <a:gd name="T6" fmla="*/ 0 w 98"/>
                <a:gd name="T7" fmla="*/ 14 h 23"/>
                <a:gd name="T8" fmla="*/ 9 w 98"/>
                <a:gd name="T9" fmla="*/ 23 h 23"/>
                <a:gd name="T10" fmla="*/ 88 w 98"/>
                <a:gd name="T11" fmla="*/ 23 h 23"/>
                <a:gd name="T12" fmla="*/ 98 w 98"/>
                <a:gd name="T13" fmla="*/ 14 h 23"/>
                <a:gd name="T14" fmla="*/ 98 w 98"/>
                <a:gd name="T15" fmla="*/ 9 h 23"/>
                <a:gd name="T16" fmla="*/ 88 w 98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23">
                  <a:moveTo>
                    <a:pt x="8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9"/>
                    <a:pt x="4" y="23"/>
                    <a:pt x="9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93" y="23"/>
                    <a:pt x="98" y="19"/>
                    <a:pt x="98" y="14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4"/>
                    <a:pt x="93" y="0"/>
                    <a:pt x="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xmlns="" id="{60D0C085-083F-4911-AD24-791652A02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" y="2280"/>
              <a:ext cx="204" cy="48"/>
            </a:xfrm>
            <a:custGeom>
              <a:avLst/>
              <a:gdLst>
                <a:gd name="T0" fmla="*/ 88 w 98"/>
                <a:gd name="T1" fmla="*/ 0 h 23"/>
                <a:gd name="T2" fmla="*/ 9 w 98"/>
                <a:gd name="T3" fmla="*/ 0 h 23"/>
                <a:gd name="T4" fmla="*/ 0 w 98"/>
                <a:gd name="T5" fmla="*/ 10 h 23"/>
                <a:gd name="T6" fmla="*/ 0 w 98"/>
                <a:gd name="T7" fmla="*/ 14 h 23"/>
                <a:gd name="T8" fmla="*/ 9 w 98"/>
                <a:gd name="T9" fmla="*/ 23 h 23"/>
                <a:gd name="T10" fmla="*/ 88 w 98"/>
                <a:gd name="T11" fmla="*/ 23 h 23"/>
                <a:gd name="T12" fmla="*/ 98 w 98"/>
                <a:gd name="T13" fmla="*/ 14 h 23"/>
                <a:gd name="T14" fmla="*/ 98 w 98"/>
                <a:gd name="T15" fmla="*/ 10 h 23"/>
                <a:gd name="T16" fmla="*/ 88 w 98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23">
                  <a:moveTo>
                    <a:pt x="8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9"/>
                    <a:pt x="4" y="23"/>
                    <a:pt x="9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93" y="23"/>
                    <a:pt x="98" y="19"/>
                    <a:pt x="98" y="14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5"/>
                    <a:pt x="93" y="0"/>
                    <a:pt x="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18">
              <a:extLst>
                <a:ext uri="{FF2B5EF4-FFF2-40B4-BE49-F238E27FC236}">
                  <a16:creationId xmlns:a16="http://schemas.microsoft.com/office/drawing/2014/main" xmlns="" id="{66A1EF66-A01C-4015-BE48-07C48D1E6A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" y="1787"/>
              <a:ext cx="1033" cy="748"/>
            </a:xfrm>
            <a:custGeom>
              <a:avLst/>
              <a:gdLst>
                <a:gd name="T0" fmla="*/ 192 w 495"/>
                <a:gd name="T1" fmla="*/ 331 h 358"/>
                <a:gd name="T2" fmla="*/ 234 w 495"/>
                <a:gd name="T3" fmla="*/ 273 h 358"/>
                <a:gd name="T4" fmla="*/ 234 w 495"/>
                <a:gd name="T5" fmla="*/ 273 h 358"/>
                <a:gd name="T6" fmla="*/ 263 w 495"/>
                <a:gd name="T7" fmla="*/ 323 h 358"/>
                <a:gd name="T8" fmla="*/ 263 w 495"/>
                <a:gd name="T9" fmla="*/ 323 h 358"/>
                <a:gd name="T10" fmla="*/ 192 w 495"/>
                <a:gd name="T11" fmla="*/ 331 h 358"/>
                <a:gd name="T12" fmla="*/ 283 w 495"/>
                <a:gd name="T13" fmla="*/ 312 h 358"/>
                <a:gd name="T14" fmla="*/ 254 w 495"/>
                <a:gd name="T15" fmla="*/ 262 h 358"/>
                <a:gd name="T16" fmla="*/ 436 w 495"/>
                <a:gd name="T17" fmla="*/ 157 h 358"/>
                <a:gd name="T18" fmla="*/ 465 w 495"/>
                <a:gd name="T19" fmla="*/ 206 h 358"/>
                <a:gd name="T20" fmla="*/ 283 w 495"/>
                <a:gd name="T21" fmla="*/ 312 h 358"/>
                <a:gd name="T22" fmla="*/ 25 w 495"/>
                <a:gd name="T23" fmla="*/ 294 h 358"/>
                <a:gd name="T24" fmla="*/ 25 w 495"/>
                <a:gd name="T25" fmla="*/ 106 h 358"/>
                <a:gd name="T26" fmla="*/ 371 w 495"/>
                <a:gd name="T27" fmla="*/ 106 h 358"/>
                <a:gd name="T28" fmla="*/ 371 w 495"/>
                <a:gd name="T29" fmla="*/ 168 h 358"/>
                <a:gd name="T30" fmla="*/ 220 w 495"/>
                <a:gd name="T31" fmla="*/ 255 h 358"/>
                <a:gd name="T32" fmla="*/ 217 w 495"/>
                <a:gd name="T33" fmla="*/ 257 h 358"/>
                <a:gd name="T34" fmla="*/ 190 w 495"/>
                <a:gd name="T35" fmla="*/ 294 h 358"/>
                <a:gd name="T36" fmla="*/ 25 w 495"/>
                <a:gd name="T37" fmla="*/ 294 h 358"/>
                <a:gd name="T38" fmla="*/ 25 w 495"/>
                <a:gd name="T39" fmla="*/ 82 h 358"/>
                <a:gd name="T40" fmla="*/ 25 w 495"/>
                <a:gd name="T41" fmla="*/ 24 h 358"/>
                <a:gd name="T42" fmla="*/ 371 w 495"/>
                <a:gd name="T43" fmla="*/ 24 h 358"/>
                <a:gd name="T44" fmla="*/ 371 w 495"/>
                <a:gd name="T45" fmla="*/ 82 h 358"/>
                <a:gd name="T46" fmla="*/ 25 w 495"/>
                <a:gd name="T47" fmla="*/ 82 h 358"/>
                <a:gd name="T48" fmla="*/ 386 w 495"/>
                <a:gd name="T49" fmla="*/ 0 h 358"/>
                <a:gd name="T50" fmla="*/ 9 w 495"/>
                <a:gd name="T51" fmla="*/ 0 h 358"/>
                <a:gd name="T52" fmla="*/ 0 w 495"/>
                <a:gd name="T53" fmla="*/ 9 h 358"/>
                <a:gd name="T54" fmla="*/ 0 w 495"/>
                <a:gd name="T55" fmla="*/ 309 h 358"/>
                <a:gd name="T56" fmla="*/ 9 w 495"/>
                <a:gd name="T57" fmla="*/ 318 h 358"/>
                <a:gd name="T58" fmla="*/ 172 w 495"/>
                <a:gd name="T59" fmla="*/ 318 h 358"/>
                <a:gd name="T60" fmla="*/ 154 w 495"/>
                <a:gd name="T61" fmla="*/ 344 h 358"/>
                <a:gd name="T62" fmla="*/ 161 w 495"/>
                <a:gd name="T63" fmla="*/ 358 h 358"/>
                <a:gd name="T64" fmla="*/ 162 w 495"/>
                <a:gd name="T65" fmla="*/ 358 h 358"/>
                <a:gd name="T66" fmla="*/ 268 w 495"/>
                <a:gd name="T67" fmla="*/ 346 h 358"/>
                <a:gd name="T68" fmla="*/ 272 w 495"/>
                <a:gd name="T69" fmla="*/ 345 h 358"/>
                <a:gd name="T70" fmla="*/ 489 w 495"/>
                <a:gd name="T71" fmla="*/ 219 h 358"/>
                <a:gd name="T72" fmla="*/ 492 w 495"/>
                <a:gd name="T73" fmla="*/ 207 h 358"/>
                <a:gd name="T74" fmla="*/ 449 w 495"/>
                <a:gd name="T75" fmla="*/ 133 h 358"/>
                <a:gd name="T76" fmla="*/ 442 w 495"/>
                <a:gd name="T77" fmla="*/ 128 h 358"/>
                <a:gd name="T78" fmla="*/ 437 w 495"/>
                <a:gd name="T79" fmla="*/ 130 h 358"/>
                <a:gd name="T80" fmla="*/ 396 w 495"/>
                <a:gd name="T81" fmla="*/ 154 h 358"/>
                <a:gd name="T82" fmla="*/ 396 w 495"/>
                <a:gd name="T83" fmla="*/ 9 h 358"/>
                <a:gd name="T84" fmla="*/ 386 w 495"/>
                <a:gd name="T85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5" h="358">
                  <a:moveTo>
                    <a:pt x="192" y="331"/>
                  </a:moveTo>
                  <a:cubicBezTo>
                    <a:pt x="234" y="273"/>
                    <a:pt x="234" y="273"/>
                    <a:pt x="234" y="273"/>
                  </a:cubicBezTo>
                  <a:cubicBezTo>
                    <a:pt x="234" y="273"/>
                    <a:pt x="234" y="273"/>
                    <a:pt x="234" y="273"/>
                  </a:cubicBezTo>
                  <a:cubicBezTo>
                    <a:pt x="263" y="323"/>
                    <a:pt x="263" y="323"/>
                    <a:pt x="263" y="323"/>
                  </a:cubicBezTo>
                  <a:cubicBezTo>
                    <a:pt x="263" y="323"/>
                    <a:pt x="263" y="323"/>
                    <a:pt x="263" y="323"/>
                  </a:cubicBezTo>
                  <a:cubicBezTo>
                    <a:pt x="192" y="331"/>
                    <a:pt x="192" y="331"/>
                    <a:pt x="192" y="331"/>
                  </a:cubicBezTo>
                  <a:moveTo>
                    <a:pt x="283" y="312"/>
                  </a:moveTo>
                  <a:cubicBezTo>
                    <a:pt x="254" y="262"/>
                    <a:pt x="254" y="262"/>
                    <a:pt x="254" y="262"/>
                  </a:cubicBezTo>
                  <a:cubicBezTo>
                    <a:pt x="436" y="157"/>
                    <a:pt x="436" y="157"/>
                    <a:pt x="436" y="157"/>
                  </a:cubicBezTo>
                  <a:cubicBezTo>
                    <a:pt x="465" y="206"/>
                    <a:pt x="465" y="206"/>
                    <a:pt x="465" y="206"/>
                  </a:cubicBezTo>
                  <a:cubicBezTo>
                    <a:pt x="283" y="312"/>
                    <a:pt x="283" y="312"/>
                    <a:pt x="283" y="312"/>
                  </a:cubicBezTo>
                  <a:moveTo>
                    <a:pt x="25" y="294"/>
                  </a:moveTo>
                  <a:cubicBezTo>
                    <a:pt x="25" y="106"/>
                    <a:pt x="25" y="106"/>
                    <a:pt x="25" y="106"/>
                  </a:cubicBezTo>
                  <a:cubicBezTo>
                    <a:pt x="371" y="106"/>
                    <a:pt x="371" y="106"/>
                    <a:pt x="371" y="106"/>
                  </a:cubicBezTo>
                  <a:cubicBezTo>
                    <a:pt x="371" y="168"/>
                    <a:pt x="371" y="168"/>
                    <a:pt x="371" y="168"/>
                  </a:cubicBezTo>
                  <a:cubicBezTo>
                    <a:pt x="220" y="255"/>
                    <a:pt x="220" y="255"/>
                    <a:pt x="220" y="255"/>
                  </a:cubicBezTo>
                  <a:cubicBezTo>
                    <a:pt x="219" y="256"/>
                    <a:pt x="218" y="256"/>
                    <a:pt x="217" y="257"/>
                  </a:cubicBezTo>
                  <a:cubicBezTo>
                    <a:pt x="190" y="294"/>
                    <a:pt x="190" y="294"/>
                    <a:pt x="190" y="294"/>
                  </a:cubicBezTo>
                  <a:cubicBezTo>
                    <a:pt x="25" y="294"/>
                    <a:pt x="25" y="294"/>
                    <a:pt x="25" y="294"/>
                  </a:cubicBezTo>
                  <a:moveTo>
                    <a:pt x="25" y="82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371" y="24"/>
                    <a:pt x="371" y="24"/>
                    <a:pt x="371" y="24"/>
                  </a:cubicBezTo>
                  <a:cubicBezTo>
                    <a:pt x="371" y="82"/>
                    <a:pt x="371" y="82"/>
                    <a:pt x="371" y="82"/>
                  </a:cubicBezTo>
                  <a:cubicBezTo>
                    <a:pt x="25" y="82"/>
                    <a:pt x="25" y="82"/>
                    <a:pt x="25" y="82"/>
                  </a:cubicBezTo>
                  <a:moveTo>
                    <a:pt x="386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4"/>
                    <a:pt x="4" y="318"/>
                    <a:pt x="9" y="318"/>
                  </a:cubicBezTo>
                  <a:cubicBezTo>
                    <a:pt x="172" y="318"/>
                    <a:pt x="172" y="318"/>
                    <a:pt x="172" y="318"/>
                  </a:cubicBezTo>
                  <a:cubicBezTo>
                    <a:pt x="154" y="344"/>
                    <a:pt x="154" y="344"/>
                    <a:pt x="154" y="344"/>
                  </a:cubicBezTo>
                  <a:cubicBezTo>
                    <a:pt x="149" y="350"/>
                    <a:pt x="154" y="358"/>
                    <a:pt x="161" y="358"/>
                  </a:cubicBezTo>
                  <a:cubicBezTo>
                    <a:pt x="161" y="358"/>
                    <a:pt x="161" y="358"/>
                    <a:pt x="162" y="35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0" y="345"/>
                    <a:pt x="271" y="345"/>
                    <a:pt x="272" y="345"/>
                  </a:cubicBezTo>
                  <a:cubicBezTo>
                    <a:pt x="489" y="219"/>
                    <a:pt x="489" y="219"/>
                    <a:pt x="489" y="219"/>
                  </a:cubicBezTo>
                  <a:cubicBezTo>
                    <a:pt x="493" y="217"/>
                    <a:pt x="495" y="211"/>
                    <a:pt x="492" y="207"/>
                  </a:cubicBezTo>
                  <a:cubicBezTo>
                    <a:pt x="449" y="133"/>
                    <a:pt x="449" y="133"/>
                    <a:pt x="449" y="133"/>
                  </a:cubicBezTo>
                  <a:cubicBezTo>
                    <a:pt x="448" y="130"/>
                    <a:pt x="445" y="128"/>
                    <a:pt x="442" y="128"/>
                  </a:cubicBezTo>
                  <a:cubicBezTo>
                    <a:pt x="440" y="128"/>
                    <a:pt x="439" y="129"/>
                    <a:pt x="437" y="130"/>
                  </a:cubicBezTo>
                  <a:cubicBezTo>
                    <a:pt x="396" y="154"/>
                    <a:pt x="396" y="154"/>
                    <a:pt x="396" y="154"/>
                  </a:cubicBezTo>
                  <a:cubicBezTo>
                    <a:pt x="396" y="9"/>
                    <a:pt x="396" y="9"/>
                    <a:pt x="396" y="9"/>
                  </a:cubicBezTo>
                  <a:cubicBezTo>
                    <a:pt x="396" y="4"/>
                    <a:pt x="391" y="0"/>
                    <a:pt x="38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6" name="Group 61">
            <a:extLst>
              <a:ext uri="{FF2B5EF4-FFF2-40B4-BE49-F238E27FC236}">
                <a16:creationId xmlns:a16="http://schemas.microsoft.com/office/drawing/2014/main" xmlns="" id="{3E1BBC57-8364-4562-8D1C-A06D91E41D2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459762" y="1929887"/>
            <a:ext cx="807456" cy="747292"/>
            <a:chOff x="5424" y="2178"/>
            <a:chExt cx="255" cy="236"/>
          </a:xfrm>
          <a:solidFill>
            <a:schemeClr val="accent5">
              <a:lumMod val="60000"/>
              <a:lumOff val="40000"/>
              <a:alpha val="16000"/>
            </a:schemeClr>
          </a:solidFill>
        </p:grpSpPr>
        <p:sp>
          <p:nvSpPr>
            <p:cNvPr id="37" name="Freeform 62">
              <a:extLst>
                <a:ext uri="{FF2B5EF4-FFF2-40B4-BE49-F238E27FC236}">
                  <a16:creationId xmlns:a16="http://schemas.microsoft.com/office/drawing/2014/main" xmlns="" id="{32D9E3CF-773F-4604-81AA-F51B8C2412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" y="2178"/>
              <a:ext cx="255" cy="236"/>
            </a:xfrm>
            <a:custGeom>
              <a:avLst/>
              <a:gdLst>
                <a:gd name="T0" fmla="*/ 7 w 120"/>
                <a:gd name="T1" fmla="*/ 90 h 111"/>
                <a:gd name="T2" fmla="*/ 7 w 120"/>
                <a:gd name="T3" fmla="*/ 33 h 111"/>
                <a:gd name="T4" fmla="*/ 112 w 120"/>
                <a:gd name="T5" fmla="*/ 33 h 111"/>
                <a:gd name="T6" fmla="*/ 112 w 120"/>
                <a:gd name="T7" fmla="*/ 90 h 111"/>
                <a:gd name="T8" fmla="*/ 63 w 120"/>
                <a:gd name="T9" fmla="*/ 90 h 111"/>
                <a:gd name="T10" fmla="*/ 63 w 120"/>
                <a:gd name="T11" fmla="*/ 63 h 111"/>
                <a:gd name="T12" fmla="*/ 73 w 120"/>
                <a:gd name="T13" fmla="*/ 72 h 111"/>
                <a:gd name="T14" fmla="*/ 75 w 120"/>
                <a:gd name="T15" fmla="*/ 73 h 111"/>
                <a:gd name="T16" fmla="*/ 77 w 120"/>
                <a:gd name="T17" fmla="*/ 72 h 111"/>
                <a:gd name="T18" fmla="*/ 78 w 120"/>
                <a:gd name="T19" fmla="*/ 71 h 111"/>
                <a:gd name="T20" fmla="*/ 78 w 120"/>
                <a:gd name="T21" fmla="*/ 67 h 111"/>
                <a:gd name="T22" fmla="*/ 61 w 120"/>
                <a:gd name="T23" fmla="*/ 51 h 111"/>
                <a:gd name="T24" fmla="*/ 59 w 120"/>
                <a:gd name="T25" fmla="*/ 50 h 111"/>
                <a:gd name="T26" fmla="*/ 58 w 120"/>
                <a:gd name="T27" fmla="*/ 51 h 111"/>
                <a:gd name="T28" fmla="*/ 41 w 120"/>
                <a:gd name="T29" fmla="*/ 67 h 111"/>
                <a:gd name="T30" fmla="*/ 41 w 120"/>
                <a:gd name="T31" fmla="*/ 71 h 111"/>
                <a:gd name="T32" fmla="*/ 42 w 120"/>
                <a:gd name="T33" fmla="*/ 72 h 111"/>
                <a:gd name="T34" fmla="*/ 44 w 120"/>
                <a:gd name="T35" fmla="*/ 73 h 111"/>
                <a:gd name="T36" fmla="*/ 46 w 120"/>
                <a:gd name="T37" fmla="*/ 72 h 111"/>
                <a:gd name="T38" fmla="*/ 56 w 120"/>
                <a:gd name="T39" fmla="*/ 63 h 111"/>
                <a:gd name="T40" fmla="*/ 56 w 120"/>
                <a:gd name="T41" fmla="*/ 90 h 111"/>
                <a:gd name="T42" fmla="*/ 7 w 120"/>
                <a:gd name="T43" fmla="*/ 90 h 111"/>
                <a:gd name="T44" fmla="*/ 7 w 120"/>
                <a:gd name="T45" fmla="*/ 25 h 111"/>
                <a:gd name="T46" fmla="*/ 7 w 120"/>
                <a:gd name="T47" fmla="*/ 8 h 111"/>
                <a:gd name="T48" fmla="*/ 112 w 120"/>
                <a:gd name="T49" fmla="*/ 8 h 111"/>
                <a:gd name="T50" fmla="*/ 112 w 120"/>
                <a:gd name="T51" fmla="*/ 25 h 111"/>
                <a:gd name="T52" fmla="*/ 7 w 120"/>
                <a:gd name="T53" fmla="*/ 25 h 111"/>
                <a:gd name="T54" fmla="*/ 117 w 120"/>
                <a:gd name="T55" fmla="*/ 0 h 111"/>
                <a:gd name="T56" fmla="*/ 3 w 120"/>
                <a:gd name="T57" fmla="*/ 0 h 111"/>
                <a:gd name="T58" fmla="*/ 0 w 120"/>
                <a:gd name="T59" fmla="*/ 3 h 111"/>
                <a:gd name="T60" fmla="*/ 0 w 120"/>
                <a:gd name="T61" fmla="*/ 94 h 111"/>
                <a:gd name="T62" fmla="*/ 3 w 120"/>
                <a:gd name="T63" fmla="*/ 97 h 111"/>
                <a:gd name="T64" fmla="*/ 56 w 120"/>
                <a:gd name="T65" fmla="*/ 97 h 111"/>
                <a:gd name="T66" fmla="*/ 56 w 120"/>
                <a:gd name="T67" fmla="*/ 108 h 111"/>
                <a:gd name="T68" fmla="*/ 59 w 120"/>
                <a:gd name="T69" fmla="*/ 111 h 111"/>
                <a:gd name="T70" fmla="*/ 60 w 120"/>
                <a:gd name="T71" fmla="*/ 111 h 111"/>
                <a:gd name="T72" fmla="*/ 63 w 120"/>
                <a:gd name="T73" fmla="*/ 108 h 111"/>
                <a:gd name="T74" fmla="*/ 63 w 120"/>
                <a:gd name="T75" fmla="*/ 97 h 111"/>
                <a:gd name="T76" fmla="*/ 117 w 120"/>
                <a:gd name="T77" fmla="*/ 97 h 111"/>
                <a:gd name="T78" fmla="*/ 120 w 120"/>
                <a:gd name="T79" fmla="*/ 94 h 111"/>
                <a:gd name="T80" fmla="*/ 120 w 120"/>
                <a:gd name="T81" fmla="*/ 3 h 111"/>
                <a:gd name="T82" fmla="*/ 117 w 120"/>
                <a:gd name="T8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11">
                  <a:moveTo>
                    <a:pt x="7" y="90"/>
                  </a:moveTo>
                  <a:cubicBezTo>
                    <a:pt x="7" y="33"/>
                    <a:pt x="7" y="33"/>
                    <a:pt x="7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73" y="72"/>
                    <a:pt x="73" y="72"/>
                    <a:pt x="73" y="72"/>
                  </a:cubicBezTo>
                  <a:cubicBezTo>
                    <a:pt x="73" y="73"/>
                    <a:pt x="74" y="73"/>
                    <a:pt x="75" y="73"/>
                  </a:cubicBezTo>
                  <a:cubicBezTo>
                    <a:pt x="75" y="73"/>
                    <a:pt x="76" y="73"/>
                    <a:pt x="77" y="72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9" y="70"/>
                    <a:pt x="79" y="68"/>
                    <a:pt x="78" y="67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1" y="50"/>
                    <a:pt x="60" y="50"/>
                    <a:pt x="59" y="50"/>
                  </a:cubicBezTo>
                  <a:cubicBezTo>
                    <a:pt x="59" y="50"/>
                    <a:pt x="58" y="50"/>
                    <a:pt x="58" y="51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0" y="68"/>
                    <a:pt x="40" y="70"/>
                    <a:pt x="41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3" y="73"/>
                    <a:pt x="44" y="73"/>
                    <a:pt x="44" y="73"/>
                  </a:cubicBezTo>
                  <a:cubicBezTo>
                    <a:pt x="45" y="73"/>
                    <a:pt x="46" y="73"/>
                    <a:pt x="46" y="72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7" y="90"/>
                    <a:pt x="7" y="90"/>
                    <a:pt x="7" y="90"/>
                  </a:cubicBezTo>
                  <a:moveTo>
                    <a:pt x="7" y="25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7" y="25"/>
                    <a:pt x="7" y="25"/>
                    <a:pt x="7" y="25"/>
                  </a:cubicBezTo>
                  <a:moveTo>
                    <a:pt x="11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6"/>
                    <a:pt x="1" y="97"/>
                    <a:pt x="3" y="97"/>
                  </a:cubicBezTo>
                  <a:cubicBezTo>
                    <a:pt x="56" y="97"/>
                    <a:pt x="56" y="97"/>
                    <a:pt x="56" y="97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6" y="110"/>
                    <a:pt x="57" y="111"/>
                    <a:pt x="59" y="111"/>
                  </a:cubicBezTo>
                  <a:cubicBezTo>
                    <a:pt x="60" y="111"/>
                    <a:pt x="60" y="111"/>
                    <a:pt x="60" y="111"/>
                  </a:cubicBezTo>
                  <a:cubicBezTo>
                    <a:pt x="62" y="111"/>
                    <a:pt x="63" y="110"/>
                    <a:pt x="63" y="108"/>
                  </a:cubicBezTo>
                  <a:cubicBezTo>
                    <a:pt x="63" y="97"/>
                    <a:pt x="63" y="97"/>
                    <a:pt x="63" y="97"/>
                  </a:cubicBezTo>
                  <a:cubicBezTo>
                    <a:pt x="117" y="97"/>
                    <a:pt x="117" y="97"/>
                    <a:pt x="117" y="97"/>
                  </a:cubicBezTo>
                  <a:cubicBezTo>
                    <a:pt x="119" y="97"/>
                    <a:pt x="120" y="96"/>
                    <a:pt x="120" y="94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2"/>
                    <a:pt x="119" y="0"/>
                    <a:pt x="11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" name="Freeform 63">
              <a:extLst>
                <a:ext uri="{FF2B5EF4-FFF2-40B4-BE49-F238E27FC236}">
                  <a16:creationId xmlns:a16="http://schemas.microsoft.com/office/drawing/2014/main" xmlns="" id="{8BE51DC0-4B66-406B-A6FF-E747ACD58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" y="2205"/>
              <a:ext cx="17" cy="15"/>
            </a:xfrm>
            <a:custGeom>
              <a:avLst/>
              <a:gdLst>
                <a:gd name="T0" fmla="*/ 5 w 8"/>
                <a:gd name="T1" fmla="*/ 0 h 7"/>
                <a:gd name="T2" fmla="*/ 2 w 8"/>
                <a:gd name="T3" fmla="*/ 0 h 7"/>
                <a:gd name="T4" fmla="*/ 0 w 8"/>
                <a:gd name="T5" fmla="*/ 2 h 7"/>
                <a:gd name="T6" fmla="*/ 0 w 8"/>
                <a:gd name="T7" fmla="*/ 4 h 7"/>
                <a:gd name="T8" fmla="*/ 2 w 8"/>
                <a:gd name="T9" fmla="*/ 7 h 7"/>
                <a:gd name="T10" fmla="*/ 5 w 8"/>
                <a:gd name="T11" fmla="*/ 7 h 7"/>
                <a:gd name="T12" fmla="*/ 8 w 8"/>
                <a:gd name="T13" fmla="*/ 4 h 7"/>
                <a:gd name="T14" fmla="*/ 8 w 8"/>
                <a:gd name="T15" fmla="*/ 2 h 7"/>
                <a:gd name="T16" fmla="*/ 5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1" y="7"/>
                    <a:pt x="2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7"/>
                    <a:pt x="8" y="6"/>
                    <a:pt x="8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7" y="0"/>
                    <a:pt x="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64">
              <a:extLst>
                <a:ext uri="{FF2B5EF4-FFF2-40B4-BE49-F238E27FC236}">
                  <a16:creationId xmlns:a16="http://schemas.microsoft.com/office/drawing/2014/main" xmlns="" id="{0C0EDEF4-24E9-4000-9A60-2941EA021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" y="2205"/>
              <a:ext cx="19" cy="15"/>
            </a:xfrm>
            <a:custGeom>
              <a:avLst/>
              <a:gdLst>
                <a:gd name="T0" fmla="*/ 6 w 9"/>
                <a:gd name="T1" fmla="*/ 0 h 7"/>
                <a:gd name="T2" fmla="*/ 3 w 9"/>
                <a:gd name="T3" fmla="*/ 0 h 7"/>
                <a:gd name="T4" fmla="*/ 0 w 9"/>
                <a:gd name="T5" fmla="*/ 2 h 7"/>
                <a:gd name="T6" fmla="*/ 0 w 9"/>
                <a:gd name="T7" fmla="*/ 4 h 7"/>
                <a:gd name="T8" fmla="*/ 3 w 9"/>
                <a:gd name="T9" fmla="*/ 7 h 7"/>
                <a:gd name="T10" fmla="*/ 6 w 9"/>
                <a:gd name="T11" fmla="*/ 7 h 7"/>
                <a:gd name="T12" fmla="*/ 9 w 9"/>
                <a:gd name="T13" fmla="*/ 4 h 7"/>
                <a:gd name="T14" fmla="*/ 9 w 9"/>
                <a:gd name="T15" fmla="*/ 2 h 7"/>
                <a:gd name="T16" fmla="*/ 6 w 9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2" y="7"/>
                    <a:pt x="3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9" y="6"/>
                    <a:pt x="9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7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65">
              <a:extLst>
                <a:ext uri="{FF2B5EF4-FFF2-40B4-BE49-F238E27FC236}">
                  <a16:creationId xmlns:a16="http://schemas.microsoft.com/office/drawing/2014/main" xmlns="" id="{1CC9758E-C3BB-4B9F-8294-E9438A46E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" y="2205"/>
              <a:ext cx="17" cy="15"/>
            </a:xfrm>
            <a:custGeom>
              <a:avLst/>
              <a:gdLst>
                <a:gd name="T0" fmla="*/ 5 w 8"/>
                <a:gd name="T1" fmla="*/ 0 h 7"/>
                <a:gd name="T2" fmla="*/ 2 w 8"/>
                <a:gd name="T3" fmla="*/ 0 h 7"/>
                <a:gd name="T4" fmla="*/ 0 w 8"/>
                <a:gd name="T5" fmla="*/ 2 h 7"/>
                <a:gd name="T6" fmla="*/ 0 w 8"/>
                <a:gd name="T7" fmla="*/ 4 h 7"/>
                <a:gd name="T8" fmla="*/ 2 w 8"/>
                <a:gd name="T9" fmla="*/ 7 h 7"/>
                <a:gd name="T10" fmla="*/ 5 w 8"/>
                <a:gd name="T11" fmla="*/ 7 h 7"/>
                <a:gd name="T12" fmla="*/ 8 w 8"/>
                <a:gd name="T13" fmla="*/ 4 h 7"/>
                <a:gd name="T14" fmla="*/ 8 w 8"/>
                <a:gd name="T15" fmla="*/ 2 h 7"/>
                <a:gd name="T16" fmla="*/ 5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1" y="7"/>
                    <a:pt x="2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7"/>
                    <a:pt x="8" y="6"/>
                    <a:pt x="8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7" y="0"/>
                    <a:pt x="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1" name="Group 4">
            <a:extLst>
              <a:ext uri="{FF2B5EF4-FFF2-40B4-BE49-F238E27FC236}">
                <a16:creationId xmlns:a16="http://schemas.microsoft.com/office/drawing/2014/main" xmlns="" id="{3E26102C-3EEC-476E-AB7B-A32CBCB52DF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32204" y="1438028"/>
            <a:ext cx="1395412" cy="762000"/>
            <a:chOff x="3397" y="1919"/>
            <a:chExt cx="879" cy="480"/>
          </a:xfrm>
          <a:solidFill>
            <a:schemeClr val="accent5">
              <a:lumMod val="60000"/>
              <a:lumOff val="40000"/>
              <a:alpha val="16000"/>
            </a:schemeClr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xmlns="" id="{FF09E739-35C8-4DC4-B87E-F714B340F8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6" y="1919"/>
              <a:ext cx="239" cy="239"/>
            </a:xfrm>
            <a:custGeom>
              <a:avLst/>
              <a:gdLst>
                <a:gd name="T0" fmla="*/ 57 w 114"/>
                <a:gd name="T1" fmla="*/ 94 h 114"/>
                <a:gd name="T2" fmla="*/ 19 w 114"/>
                <a:gd name="T3" fmla="*/ 57 h 114"/>
                <a:gd name="T4" fmla="*/ 57 w 114"/>
                <a:gd name="T5" fmla="*/ 19 h 114"/>
                <a:gd name="T6" fmla="*/ 94 w 114"/>
                <a:gd name="T7" fmla="*/ 57 h 114"/>
                <a:gd name="T8" fmla="*/ 57 w 114"/>
                <a:gd name="T9" fmla="*/ 94 h 114"/>
                <a:gd name="T10" fmla="*/ 57 w 114"/>
                <a:gd name="T11" fmla="*/ 0 h 114"/>
                <a:gd name="T12" fmla="*/ 0 w 114"/>
                <a:gd name="T13" fmla="*/ 57 h 114"/>
                <a:gd name="T14" fmla="*/ 57 w 114"/>
                <a:gd name="T15" fmla="*/ 114 h 114"/>
                <a:gd name="T16" fmla="*/ 114 w 114"/>
                <a:gd name="T17" fmla="*/ 57 h 114"/>
                <a:gd name="T18" fmla="*/ 57 w 114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94"/>
                  </a:moveTo>
                  <a:cubicBezTo>
                    <a:pt x="36" y="94"/>
                    <a:pt x="19" y="77"/>
                    <a:pt x="19" y="57"/>
                  </a:cubicBezTo>
                  <a:cubicBezTo>
                    <a:pt x="19" y="36"/>
                    <a:pt x="36" y="19"/>
                    <a:pt x="57" y="19"/>
                  </a:cubicBezTo>
                  <a:cubicBezTo>
                    <a:pt x="77" y="19"/>
                    <a:pt x="94" y="36"/>
                    <a:pt x="94" y="57"/>
                  </a:cubicBezTo>
                  <a:cubicBezTo>
                    <a:pt x="94" y="77"/>
                    <a:pt x="77" y="94"/>
                    <a:pt x="57" y="94"/>
                  </a:cubicBezTo>
                  <a:moveTo>
                    <a:pt x="57" y="0"/>
                  </a:moveTo>
                  <a:cubicBezTo>
                    <a:pt x="25" y="0"/>
                    <a:pt x="0" y="25"/>
                    <a:pt x="0" y="57"/>
                  </a:cubicBezTo>
                  <a:cubicBezTo>
                    <a:pt x="0" y="88"/>
                    <a:pt x="25" y="114"/>
                    <a:pt x="57" y="114"/>
                  </a:cubicBezTo>
                  <a:cubicBezTo>
                    <a:pt x="88" y="114"/>
                    <a:pt x="114" y="88"/>
                    <a:pt x="114" y="57"/>
                  </a:cubicBezTo>
                  <a:cubicBezTo>
                    <a:pt x="114" y="25"/>
                    <a:pt x="88" y="0"/>
                    <a:pt x="5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xmlns="" id="{3380549E-435E-4539-A125-0B43E4C3CB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7" y="2191"/>
              <a:ext cx="499" cy="208"/>
            </a:xfrm>
            <a:custGeom>
              <a:avLst/>
              <a:gdLst>
                <a:gd name="T0" fmla="*/ 27 w 239"/>
                <a:gd name="T1" fmla="*/ 79 h 99"/>
                <a:gd name="T2" fmla="*/ 52 w 239"/>
                <a:gd name="T3" fmla="*/ 20 h 99"/>
                <a:gd name="T4" fmla="*/ 187 w 239"/>
                <a:gd name="T5" fmla="*/ 20 h 99"/>
                <a:gd name="T6" fmla="*/ 212 w 239"/>
                <a:gd name="T7" fmla="*/ 79 h 99"/>
                <a:gd name="T8" fmla="*/ 27 w 239"/>
                <a:gd name="T9" fmla="*/ 79 h 99"/>
                <a:gd name="T10" fmla="*/ 195 w 239"/>
                <a:gd name="T11" fmla="*/ 0 h 99"/>
                <a:gd name="T12" fmla="*/ 44 w 239"/>
                <a:gd name="T13" fmla="*/ 0 h 99"/>
                <a:gd name="T14" fmla="*/ 37 w 239"/>
                <a:gd name="T15" fmla="*/ 5 h 99"/>
                <a:gd name="T16" fmla="*/ 2 w 239"/>
                <a:gd name="T17" fmla="*/ 89 h 99"/>
                <a:gd name="T18" fmla="*/ 9 w 239"/>
                <a:gd name="T19" fmla="*/ 99 h 99"/>
                <a:gd name="T20" fmla="*/ 230 w 239"/>
                <a:gd name="T21" fmla="*/ 99 h 99"/>
                <a:gd name="T22" fmla="*/ 237 w 239"/>
                <a:gd name="T23" fmla="*/ 89 h 99"/>
                <a:gd name="T24" fmla="*/ 202 w 239"/>
                <a:gd name="T25" fmla="*/ 5 h 99"/>
                <a:gd name="T26" fmla="*/ 195 w 239"/>
                <a:gd name="T2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9" h="99">
                  <a:moveTo>
                    <a:pt x="27" y="79"/>
                  </a:moveTo>
                  <a:cubicBezTo>
                    <a:pt x="52" y="20"/>
                    <a:pt x="52" y="20"/>
                    <a:pt x="52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212" y="79"/>
                    <a:pt x="212" y="79"/>
                    <a:pt x="212" y="79"/>
                  </a:cubicBezTo>
                  <a:cubicBezTo>
                    <a:pt x="27" y="79"/>
                    <a:pt x="27" y="79"/>
                    <a:pt x="27" y="79"/>
                  </a:cubicBezTo>
                  <a:moveTo>
                    <a:pt x="195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1" y="0"/>
                    <a:pt x="38" y="2"/>
                    <a:pt x="37" y="5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0" y="94"/>
                    <a:pt x="4" y="99"/>
                    <a:pt x="9" y="99"/>
                  </a:cubicBezTo>
                  <a:cubicBezTo>
                    <a:pt x="230" y="99"/>
                    <a:pt x="230" y="99"/>
                    <a:pt x="230" y="99"/>
                  </a:cubicBezTo>
                  <a:cubicBezTo>
                    <a:pt x="235" y="99"/>
                    <a:pt x="239" y="94"/>
                    <a:pt x="237" y="89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201" y="2"/>
                    <a:pt x="198" y="0"/>
                    <a:pt x="19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xmlns="" id="{4C7487AA-350C-4447-A216-7E17735BC5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4" y="1919"/>
              <a:ext cx="239" cy="239"/>
            </a:xfrm>
            <a:custGeom>
              <a:avLst/>
              <a:gdLst>
                <a:gd name="T0" fmla="*/ 57 w 114"/>
                <a:gd name="T1" fmla="*/ 94 h 114"/>
                <a:gd name="T2" fmla="*/ 20 w 114"/>
                <a:gd name="T3" fmla="*/ 57 h 114"/>
                <a:gd name="T4" fmla="*/ 57 w 114"/>
                <a:gd name="T5" fmla="*/ 19 h 114"/>
                <a:gd name="T6" fmla="*/ 95 w 114"/>
                <a:gd name="T7" fmla="*/ 57 h 114"/>
                <a:gd name="T8" fmla="*/ 57 w 114"/>
                <a:gd name="T9" fmla="*/ 94 h 114"/>
                <a:gd name="T10" fmla="*/ 57 w 114"/>
                <a:gd name="T11" fmla="*/ 0 h 114"/>
                <a:gd name="T12" fmla="*/ 0 w 114"/>
                <a:gd name="T13" fmla="*/ 57 h 114"/>
                <a:gd name="T14" fmla="*/ 57 w 114"/>
                <a:gd name="T15" fmla="*/ 114 h 114"/>
                <a:gd name="T16" fmla="*/ 114 w 114"/>
                <a:gd name="T17" fmla="*/ 57 h 114"/>
                <a:gd name="T18" fmla="*/ 57 w 114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94"/>
                  </a:moveTo>
                  <a:cubicBezTo>
                    <a:pt x="37" y="94"/>
                    <a:pt x="20" y="77"/>
                    <a:pt x="20" y="57"/>
                  </a:cubicBezTo>
                  <a:cubicBezTo>
                    <a:pt x="20" y="36"/>
                    <a:pt x="37" y="19"/>
                    <a:pt x="57" y="19"/>
                  </a:cubicBezTo>
                  <a:cubicBezTo>
                    <a:pt x="78" y="19"/>
                    <a:pt x="95" y="36"/>
                    <a:pt x="95" y="57"/>
                  </a:cubicBezTo>
                  <a:cubicBezTo>
                    <a:pt x="95" y="77"/>
                    <a:pt x="78" y="94"/>
                    <a:pt x="57" y="94"/>
                  </a:cubicBezTo>
                  <a:moveTo>
                    <a:pt x="57" y="0"/>
                  </a:moveTo>
                  <a:cubicBezTo>
                    <a:pt x="26" y="0"/>
                    <a:pt x="0" y="25"/>
                    <a:pt x="0" y="57"/>
                  </a:cubicBezTo>
                  <a:cubicBezTo>
                    <a:pt x="0" y="88"/>
                    <a:pt x="26" y="114"/>
                    <a:pt x="57" y="114"/>
                  </a:cubicBezTo>
                  <a:cubicBezTo>
                    <a:pt x="89" y="114"/>
                    <a:pt x="114" y="88"/>
                    <a:pt x="114" y="57"/>
                  </a:cubicBezTo>
                  <a:cubicBezTo>
                    <a:pt x="114" y="25"/>
                    <a:pt x="89" y="0"/>
                    <a:pt x="5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xmlns="" id="{CC122713-42D8-4E7B-A4C2-6FB732FCC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" y="2191"/>
              <a:ext cx="405" cy="208"/>
            </a:xfrm>
            <a:custGeom>
              <a:avLst/>
              <a:gdLst>
                <a:gd name="T0" fmla="*/ 150 w 194"/>
                <a:gd name="T1" fmla="*/ 0 h 99"/>
                <a:gd name="T2" fmla="*/ 0 w 194"/>
                <a:gd name="T3" fmla="*/ 0 h 99"/>
                <a:gd name="T4" fmla="*/ 8 w 194"/>
                <a:gd name="T5" fmla="*/ 20 h 99"/>
                <a:gd name="T6" fmla="*/ 142 w 194"/>
                <a:gd name="T7" fmla="*/ 20 h 99"/>
                <a:gd name="T8" fmla="*/ 167 w 194"/>
                <a:gd name="T9" fmla="*/ 79 h 99"/>
                <a:gd name="T10" fmla="*/ 33 w 194"/>
                <a:gd name="T11" fmla="*/ 79 h 99"/>
                <a:gd name="T12" fmla="*/ 41 w 194"/>
                <a:gd name="T13" fmla="*/ 99 h 99"/>
                <a:gd name="T14" fmla="*/ 185 w 194"/>
                <a:gd name="T15" fmla="*/ 99 h 99"/>
                <a:gd name="T16" fmla="*/ 192 w 194"/>
                <a:gd name="T17" fmla="*/ 89 h 99"/>
                <a:gd name="T18" fmla="*/ 157 w 194"/>
                <a:gd name="T19" fmla="*/ 5 h 99"/>
                <a:gd name="T20" fmla="*/ 150 w 194"/>
                <a:gd name="T2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4" h="99">
                  <a:moveTo>
                    <a:pt x="15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41" y="99"/>
                    <a:pt x="41" y="99"/>
                    <a:pt x="41" y="99"/>
                  </a:cubicBezTo>
                  <a:cubicBezTo>
                    <a:pt x="185" y="99"/>
                    <a:pt x="185" y="99"/>
                    <a:pt x="185" y="99"/>
                  </a:cubicBezTo>
                  <a:cubicBezTo>
                    <a:pt x="190" y="99"/>
                    <a:pt x="194" y="94"/>
                    <a:pt x="192" y="89"/>
                  </a:cubicBezTo>
                  <a:cubicBezTo>
                    <a:pt x="157" y="5"/>
                    <a:pt x="157" y="5"/>
                    <a:pt x="157" y="5"/>
                  </a:cubicBezTo>
                  <a:cubicBezTo>
                    <a:pt x="156" y="2"/>
                    <a:pt x="153" y="0"/>
                    <a:pt x="15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6" name="Group 35">
            <a:extLst>
              <a:ext uri="{FF2B5EF4-FFF2-40B4-BE49-F238E27FC236}">
                <a16:creationId xmlns:a16="http://schemas.microsoft.com/office/drawing/2014/main" xmlns="" id="{B5070303-097F-4335-8DDF-C14821FE5A4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204364" y="3429000"/>
            <a:ext cx="1024881" cy="826566"/>
            <a:chOff x="3499" y="1889"/>
            <a:chExt cx="677" cy="546"/>
          </a:xfrm>
          <a:solidFill>
            <a:schemeClr val="accent5">
              <a:lumMod val="60000"/>
              <a:lumOff val="40000"/>
              <a:alpha val="16000"/>
            </a:schemeClr>
          </a:solidFill>
        </p:grpSpPr>
        <p:sp>
          <p:nvSpPr>
            <p:cNvPr id="47" name="Freeform 36">
              <a:extLst>
                <a:ext uri="{FF2B5EF4-FFF2-40B4-BE49-F238E27FC236}">
                  <a16:creationId xmlns:a16="http://schemas.microsoft.com/office/drawing/2014/main" xmlns="" id="{E9AC3744-853F-4DB4-9D3E-39A5F5C0D1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9" y="2046"/>
              <a:ext cx="132" cy="134"/>
            </a:xfrm>
            <a:custGeom>
              <a:avLst/>
              <a:gdLst>
                <a:gd name="T0" fmla="*/ 31 w 63"/>
                <a:gd name="T1" fmla="*/ 49 h 64"/>
                <a:gd name="T2" fmla="*/ 15 w 63"/>
                <a:gd name="T3" fmla="*/ 32 h 64"/>
                <a:gd name="T4" fmla="*/ 31 w 63"/>
                <a:gd name="T5" fmla="*/ 15 h 64"/>
                <a:gd name="T6" fmla="*/ 48 w 63"/>
                <a:gd name="T7" fmla="*/ 32 h 64"/>
                <a:gd name="T8" fmla="*/ 31 w 63"/>
                <a:gd name="T9" fmla="*/ 49 h 64"/>
                <a:gd name="T10" fmla="*/ 31 w 63"/>
                <a:gd name="T11" fmla="*/ 0 h 64"/>
                <a:gd name="T12" fmla="*/ 0 w 63"/>
                <a:gd name="T13" fmla="*/ 32 h 64"/>
                <a:gd name="T14" fmla="*/ 31 w 63"/>
                <a:gd name="T15" fmla="*/ 64 h 64"/>
                <a:gd name="T16" fmla="*/ 63 w 63"/>
                <a:gd name="T17" fmla="*/ 32 h 64"/>
                <a:gd name="T18" fmla="*/ 31 w 63"/>
                <a:gd name="T1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4">
                  <a:moveTo>
                    <a:pt x="31" y="49"/>
                  </a:moveTo>
                  <a:cubicBezTo>
                    <a:pt x="22" y="49"/>
                    <a:pt x="15" y="41"/>
                    <a:pt x="15" y="32"/>
                  </a:cubicBezTo>
                  <a:cubicBezTo>
                    <a:pt x="15" y="23"/>
                    <a:pt x="22" y="15"/>
                    <a:pt x="31" y="15"/>
                  </a:cubicBezTo>
                  <a:cubicBezTo>
                    <a:pt x="40" y="15"/>
                    <a:pt x="48" y="23"/>
                    <a:pt x="48" y="32"/>
                  </a:cubicBezTo>
                  <a:cubicBezTo>
                    <a:pt x="48" y="41"/>
                    <a:pt x="40" y="49"/>
                    <a:pt x="31" y="49"/>
                  </a:cubicBezTo>
                  <a:moveTo>
                    <a:pt x="31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4"/>
                    <a:pt x="31" y="64"/>
                  </a:cubicBezTo>
                  <a:cubicBezTo>
                    <a:pt x="49" y="64"/>
                    <a:pt x="63" y="50"/>
                    <a:pt x="63" y="32"/>
                  </a:cubicBezTo>
                  <a:cubicBezTo>
                    <a:pt x="63" y="14"/>
                    <a:pt x="49" y="0"/>
                    <a:pt x="3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37">
              <a:extLst>
                <a:ext uri="{FF2B5EF4-FFF2-40B4-BE49-F238E27FC236}">
                  <a16:creationId xmlns:a16="http://schemas.microsoft.com/office/drawing/2014/main" xmlns="" id="{6964B769-BB90-4181-A814-897D9D9B86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9" y="2333"/>
              <a:ext cx="648" cy="102"/>
            </a:xfrm>
            <a:custGeom>
              <a:avLst/>
              <a:gdLst>
                <a:gd name="T0" fmla="*/ 31 w 309"/>
                <a:gd name="T1" fmla="*/ 34 h 49"/>
                <a:gd name="T2" fmla="*/ 15 w 309"/>
                <a:gd name="T3" fmla="*/ 18 h 49"/>
                <a:gd name="T4" fmla="*/ 15 w 309"/>
                <a:gd name="T5" fmla="*/ 15 h 49"/>
                <a:gd name="T6" fmla="*/ 17 w 309"/>
                <a:gd name="T7" fmla="*/ 15 h 49"/>
                <a:gd name="T8" fmla="*/ 294 w 309"/>
                <a:gd name="T9" fmla="*/ 15 h 49"/>
                <a:gd name="T10" fmla="*/ 294 w 309"/>
                <a:gd name="T11" fmla="*/ 18 h 49"/>
                <a:gd name="T12" fmla="*/ 279 w 309"/>
                <a:gd name="T13" fmla="*/ 34 h 49"/>
                <a:gd name="T14" fmla="*/ 31 w 309"/>
                <a:gd name="T15" fmla="*/ 34 h 49"/>
                <a:gd name="T16" fmla="*/ 304 w 309"/>
                <a:gd name="T17" fmla="*/ 0 h 49"/>
                <a:gd name="T18" fmla="*/ 5 w 309"/>
                <a:gd name="T19" fmla="*/ 0 h 49"/>
                <a:gd name="T20" fmla="*/ 0 w 309"/>
                <a:gd name="T21" fmla="*/ 5 h 49"/>
                <a:gd name="T22" fmla="*/ 0 w 309"/>
                <a:gd name="T23" fmla="*/ 14 h 49"/>
                <a:gd name="T24" fmla="*/ 34 w 309"/>
                <a:gd name="T25" fmla="*/ 49 h 49"/>
                <a:gd name="T26" fmla="*/ 275 w 309"/>
                <a:gd name="T27" fmla="*/ 49 h 49"/>
                <a:gd name="T28" fmla="*/ 309 w 309"/>
                <a:gd name="T29" fmla="*/ 14 h 49"/>
                <a:gd name="T30" fmla="*/ 309 w 309"/>
                <a:gd name="T31" fmla="*/ 5 h 49"/>
                <a:gd name="T32" fmla="*/ 304 w 309"/>
                <a:gd name="T3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9" h="49">
                  <a:moveTo>
                    <a:pt x="31" y="34"/>
                  </a:moveTo>
                  <a:cubicBezTo>
                    <a:pt x="22" y="34"/>
                    <a:pt x="15" y="27"/>
                    <a:pt x="15" y="18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294" y="15"/>
                    <a:pt x="294" y="15"/>
                    <a:pt x="294" y="15"/>
                  </a:cubicBezTo>
                  <a:cubicBezTo>
                    <a:pt x="294" y="18"/>
                    <a:pt x="294" y="18"/>
                    <a:pt x="294" y="18"/>
                  </a:cubicBezTo>
                  <a:cubicBezTo>
                    <a:pt x="294" y="27"/>
                    <a:pt x="287" y="34"/>
                    <a:pt x="279" y="34"/>
                  </a:cubicBezTo>
                  <a:cubicBezTo>
                    <a:pt x="31" y="34"/>
                    <a:pt x="31" y="34"/>
                    <a:pt x="31" y="34"/>
                  </a:cubicBezTo>
                  <a:moveTo>
                    <a:pt x="30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3"/>
                    <a:pt x="15" y="49"/>
                    <a:pt x="34" y="49"/>
                  </a:cubicBezTo>
                  <a:cubicBezTo>
                    <a:pt x="275" y="49"/>
                    <a:pt x="275" y="49"/>
                    <a:pt x="275" y="49"/>
                  </a:cubicBezTo>
                  <a:cubicBezTo>
                    <a:pt x="294" y="49"/>
                    <a:pt x="309" y="33"/>
                    <a:pt x="309" y="14"/>
                  </a:cubicBezTo>
                  <a:cubicBezTo>
                    <a:pt x="309" y="5"/>
                    <a:pt x="309" y="5"/>
                    <a:pt x="309" y="5"/>
                  </a:cubicBezTo>
                  <a:cubicBezTo>
                    <a:pt x="309" y="2"/>
                    <a:pt x="307" y="0"/>
                    <a:pt x="30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38">
              <a:extLst>
                <a:ext uri="{FF2B5EF4-FFF2-40B4-BE49-F238E27FC236}">
                  <a16:creationId xmlns:a16="http://schemas.microsoft.com/office/drawing/2014/main" xmlns="" id="{FD45DA4A-1B17-4B90-9CAE-BC0FCB4A7E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9" y="1889"/>
              <a:ext cx="637" cy="410"/>
            </a:xfrm>
            <a:custGeom>
              <a:avLst/>
              <a:gdLst>
                <a:gd name="T0" fmla="*/ 155 w 304"/>
                <a:gd name="T1" fmla="*/ 100 h 196"/>
                <a:gd name="T2" fmla="*/ 155 w 304"/>
                <a:gd name="T3" fmla="*/ 16 h 196"/>
                <a:gd name="T4" fmla="*/ 289 w 304"/>
                <a:gd name="T5" fmla="*/ 16 h 196"/>
                <a:gd name="T6" fmla="*/ 289 w 304"/>
                <a:gd name="T7" fmla="*/ 100 h 196"/>
                <a:gd name="T8" fmla="*/ 230 w 304"/>
                <a:gd name="T9" fmla="*/ 100 h 196"/>
                <a:gd name="T10" fmla="*/ 185 w 304"/>
                <a:gd name="T11" fmla="*/ 139 h 196"/>
                <a:gd name="T12" fmla="*/ 185 w 304"/>
                <a:gd name="T13" fmla="*/ 100 h 196"/>
                <a:gd name="T14" fmla="*/ 155 w 304"/>
                <a:gd name="T15" fmla="*/ 100 h 196"/>
                <a:gd name="T16" fmla="*/ 299 w 304"/>
                <a:gd name="T17" fmla="*/ 0 h 196"/>
                <a:gd name="T18" fmla="*/ 145 w 304"/>
                <a:gd name="T19" fmla="*/ 0 h 196"/>
                <a:gd name="T20" fmla="*/ 140 w 304"/>
                <a:gd name="T21" fmla="*/ 6 h 196"/>
                <a:gd name="T22" fmla="*/ 140 w 304"/>
                <a:gd name="T23" fmla="*/ 34 h 196"/>
                <a:gd name="T24" fmla="*/ 5 w 304"/>
                <a:gd name="T25" fmla="*/ 34 h 196"/>
                <a:gd name="T26" fmla="*/ 0 w 304"/>
                <a:gd name="T27" fmla="*/ 40 h 196"/>
                <a:gd name="T28" fmla="*/ 0 w 304"/>
                <a:gd name="T29" fmla="*/ 196 h 196"/>
                <a:gd name="T30" fmla="*/ 16 w 304"/>
                <a:gd name="T31" fmla="*/ 196 h 196"/>
                <a:gd name="T32" fmla="*/ 16 w 304"/>
                <a:gd name="T33" fmla="*/ 50 h 196"/>
                <a:gd name="T34" fmla="*/ 140 w 304"/>
                <a:gd name="T35" fmla="*/ 50 h 196"/>
                <a:gd name="T36" fmla="*/ 140 w 304"/>
                <a:gd name="T37" fmla="*/ 110 h 196"/>
                <a:gd name="T38" fmla="*/ 145 w 304"/>
                <a:gd name="T39" fmla="*/ 115 h 196"/>
                <a:gd name="T40" fmla="*/ 170 w 304"/>
                <a:gd name="T41" fmla="*/ 115 h 196"/>
                <a:gd name="T42" fmla="*/ 170 w 304"/>
                <a:gd name="T43" fmla="*/ 160 h 196"/>
                <a:gd name="T44" fmla="*/ 173 w 304"/>
                <a:gd name="T45" fmla="*/ 165 h 196"/>
                <a:gd name="T46" fmla="*/ 175 w 304"/>
                <a:gd name="T47" fmla="*/ 165 h 196"/>
                <a:gd name="T48" fmla="*/ 178 w 304"/>
                <a:gd name="T49" fmla="*/ 164 h 196"/>
                <a:gd name="T50" fmla="*/ 235 w 304"/>
                <a:gd name="T51" fmla="*/ 115 h 196"/>
                <a:gd name="T52" fmla="*/ 254 w 304"/>
                <a:gd name="T53" fmla="*/ 115 h 196"/>
                <a:gd name="T54" fmla="*/ 254 w 304"/>
                <a:gd name="T55" fmla="*/ 196 h 196"/>
                <a:gd name="T56" fmla="*/ 269 w 304"/>
                <a:gd name="T57" fmla="*/ 196 h 196"/>
                <a:gd name="T58" fmla="*/ 269 w 304"/>
                <a:gd name="T59" fmla="*/ 115 h 196"/>
                <a:gd name="T60" fmla="*/ 299 w 304"/>
                <a:gd name="T61" fmla="*/ 115 h 196"/>
                <a:gd name="T62" fmla="*/ 304 w 304"/>
                <a:gd name="T63" fmla="*/ 110 h 196"/>
                <a:gd name="T64" fmla="*/ 304 w 304"/>
                <a:gd name="T65" fmla="*/ 6 h 196"/>
                <a:gd name="T66" fmla="*/ 299 w 304"/>
                <a:gd name="T67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4" h="196">
                  <a:moveTo>
                    <a:pt x="155" y="100"/>
                  </a:moveTo>
                  <a:cubicBezTo>
                    <a:pt x="155" y="16"/>
                    <a:pt x="155" y="16"/>
                    <a:pt x="155" y="16"/>
                  </a:cubicBezTo>
                  <a:cubicBezTo>
                    <a:pt x="289" y="16"/>
                    <a:pt x="289" y="16"/>
                    <a:pt x="289" y="16"/>
                  </a:cubicBezTo>
                  <a:cubicBezTo>
                    <a:pt x="289" y="100"/>
                    <a:pt x="289" y="100"/>
                    <a:pt x="289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185" y="139"/>
                    <a:pt x="185" y="139"/>
                    <a:pt x="185" y="139"/>
                  </a:cubicBezTo>
                  <a:cubicBezTo>
                    <a:pt x="185" y="100"/>
                    <a:pt x="185" y="100"/>
                    <a:pt x="185" y="100"/>
                  </a:cubicBezTo>
                  <a:cubicBezTo>
                    <a:pt x="155" y="100"/>
                    <a:pt x="155" y="100"/>
                    <a:pt x="155" y="100"/>
                  </a:cubicBezTo>
                  <a:moveTo>
                    <a:pt x="299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2" y="0"/>
                    <a:pt x="140" y="3"/>
                    <a:pt x="140" y="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7"/>
                    <a:pt x="0" y="4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0" y="50"/>
                    <a:pt x="140" y="50"/>
                    <a:pt x="140" y="50"/>
                  </a:cubicBezTo>
                  <a:cubicBezTo>
                    <a:pt x="140" y="110"/>
                    <a:pt x="140" y="110"/>
                    <a:pt x="140" y="110"/>
                  </a:cubicBezTo>
                  <a:cubicBezTo>
                    <a:pt x="140" y="113"/>
                    <a:pt x="142" y="115"/>
                    <a:pt x="145" y="115"/>
                  </a:cubicBezTo>
                  <a:cubicBezTo>
                    <a:pt x="170" y="115"/>
                    <a:pt x="170" y="115"/>
                    <a:pt x="170" y="115"/>
                  </a:cubicBezTo>
                  <a:cubicBezTo>
                    <a:pt x="170" y="160"/>
                    <a:pt x="170" y="160"/>
                    <a:pt x="170" y="160"/>
                  </a:cubicBezTo>
                  <a:cubicBezTo>
                    <a:pt x="170" y="162"/>
                    <a:pt x="171" y="164"/>
                    <a:pt x="173" y="165"/>
                  </a:cubicBezTo>
                  <a:cubicBezTo>
                    <a:pt x="173" y="165"/>
                    <a:pt x="174" y="165"/>
                    <a:pt x="175" y="165"/>
                  </a:cubicBezTo>
                  <a:cubicBezTo>
                    <a:pt x="176" y="165"/>
                    <a:pt x="177" y="165"/>
                    <a:pt x="178" y="164"/>
                  </a:cubicBezTo>
                  <a:cubicBezTo>
                    <a:pt x="235" y="115"/>
                    <a:pt x="235" y="115"/>
                    <a:pt x="235" y="115"/>
                  </a:cubicBezTo>
                  <a:cubicBezTo>
                    <a:pt x="254" y="115"/>
                    <a:pt x="254" y="115"/>
                    <a:pt x="254" y="115"/>
                  </a:cubicBezTo>
                  <a:cubicBezTo>
                    <a:pt x="254" y="196"/>
                    <a:pt x="254" y="196"/>
                    <a:pt x="254" y="196"/>
                  </a:cubicBezTo>
                  <a:cubicBezTo>
                    <a:pt x="269" y="196"/>
                    <a:pt x="269" y="196"/>
                    <a:pt x="269" y="196"/>
                  </a:cubicBezTo>
                  <a:cubicBezTo>
                    <a:pt x="269" y="115"/>
                    <a:pt x="269" y="115"/>
                    <a:pt x="269" y="115"/>
                  </a:cubicBezTo>
                  <a:cubicBezTo>
                    <a:pt x="299" y="115"/>
                    <a:pt x="299" y="115"/>
                    <a:pt x="299" y="115"/>
                  </a:cubicBezTo>
                  <a:cubicBezTo>
                    <a:pt x="302" y="115"/>
                    <a:pt x="304" y="113"/>
                    <a:pt x="304" y="110"/>
                  </a:cubicBezTo>
                  <a:cubicBezTo>
                    <a:pt x="304" y="6"/>
                    <a:pt x="304" y="6"/>
                    <a:pt x="304" y="6"/>
                  </a:cubicBezTo>
                  <a:cubicBezTo>
                    <a:pt x="304" y="3"/>
                    <a:pt x="302" y="0"/>
                    <a:pt x="29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39">
              <a:extLst>
                <a:ext uri="{FF2B5EF4-FFF2-40B4-BE49-F238E27FC236}">
                  <a16:creationId xmlns:a16="http://schemas.microsoft.com/office/drawing/2014/main" xmlns="" id="{F9E3E14D-7DFB-4995-86E1-19382F05F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" y="2203"/>
              <a:ext cx="243" cy="96"/>
            </a:xfrm>
            <a:custGeom>
              <a:avLst/>
              <a:gdLst>
                <a:gd name="T0" fmla="*/ 97 w 116"/>
                <a:gd name="T1" fmla="*/ 0 h 46"/>
                <a:gd name="T2" fmla="*/ 19 w 116"/>
                <a:gd name="T3" fmla="*/ 0 h 46"/>
                <a:gd name="T4" fmla="*/ 14 w 116"/>
                <a:gd name="T5" fmla="*/ 3 h 46"/>
                <a:gd name="T6" fmla="*/ 0 w 116"/>
                <a:gd name="T7" fmla="*/ 39 h 46"/>
                <a:gd name="T8" fmla="*/ 1 w 116"/>
                <a:gd name="T9" fmla="*/ 43 h 46"/>
                <a:gd name="T10" fmla="*/ 5 w 116"/>
                <a:gd name="T11" fmla="*/ 46 h 46"/>
                <a:gd name="T12" fmla="*/ 14 w 116"/>
                <a:gd name="T13" fmla="*/ 46 h 46"/>
                <a:gd name="T14" fmla="*/ 26 w 116"/>
                <a:gd name="T15" fmla="*/ 15 h 46"/>
                <a:gd name="T16" fmla="*/ 90 w 116"/>
                <a:gd name="T17" fmla="*/ 15 h 46"/>
                <a:gd name="T18" fmla="*/ 102 w 116"/>
                <a:gd name="T19" fmla="*/ 46 h 46"/>
                <a:gd name="T20" fmla="*/ 111 w 116"/>
                <a:gd name="T21" fmla="*/ 46 h 46"/>
                <a:gd name="T22" fmla="*/ 115 w 116"/>
                <a:gd name="T23" fmla="*/ 43 h 46"/>
                <a:gd name="T24" fmla="*/ 116 w 116"/>
                <a:gd name="T25" fmla="*/ 39 h 46"/>
                <a:gd name="T26" fmla="*/ 101 w 116"/>
                <a:gd name="T27" fmla="*/ 3 h 46"/>
                <a:gd name="T28" fmla="*/ 97 w 116"/>
                <a:gd name="T2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" h="46">
                  <a:moveTo>
                    <a:pt x="97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7" y="0"/>
                    <a:pt x="15" y="1"/>
                    <a:pt x="14" y="3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0" y="42"/>
                    <a:pt x="1" y="43"/>
                  </a:cubicBezTo>
                  <a:cubicBezTo>
                    <a:pt x="2" y="45"/>
                    <a:pt x="3" y="46"/>
                    <a:pt x="5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3" y="46"/>
                    <a:pt x="114" y="45"/>
                    <a:pt x="115" y="43"/>
                  </a:cubicBezTo>
                  <a:cubicBezTo>
                    <a:pt x="116" y="42"/>
                    <a:pt x="116" y="40"/>
                    <a:pt x="116" y="39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1"/>
                    <a:pt x="99" y="0"/>
                    <a:pt x="9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51" name="Group 42">
            <a:extLst>
              <a:ext uri="{FF2B5EF4-FFF2-40B4-BE49-F238E27FC236}">
                <a16:creationId xmlns:a16="http://schemas.microsoft.com/office/drawing/2014/main" xmlns="" id="{43832662-88C4-41F3-873E-C4300DB3748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194943" y="4154132"/>
            <a:ext cx="2011363" cy="1930400"/>
            <a:chOff x="3204" y="1553"/>
            <a:chExt cx="1267" cy="1216"/>
          </a:xfrm>
          <a:solidFill>
            <a:schemeClr val="accent5">
              <a:lumMod val="60000"/>
              <a:lumOff val="40000"/>
              <a:alpha val="16000"/>
            </a:schemeClr>
          </a:solidFill>
        </p:grpSpPr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xmlns="" id="{F8A8D198-6372-4D11-B5C9-CEBBF0DB8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" y="2076"/>
              <a:ext cx="503" cy="635"/>
            </a:xfrm>
            <a:custGeom>
              <a:avLst/>
              <a:gdLst>
                <a:gd name="T0" fmla="*/ 224 w 241"/>
                <a:gd name="T1" fmla="*/ 0 h 305"/>
                <a:gd name="T2" fmla="*/ 222 w 241"/>
                <a:gd name="T3" fmla="*/ 1 h 305"/>
                <a:gd name="T4" fmla="*/ 212 w 241"/>
                <a:gd name="T5" fmla="*/ 3 h 305"/>
                <a:gd name="T6" fmla="*/ 202 w 241"/>
                <a:gd name="T7" fmla="*/ 18 h 305"/>
                <a:gd name="T8" fmla="*/ 205 w 241"/>
                <a:gd name="T9" fmla="*/ 55 h 305"/>
                <a:gd name="T10" fmla="*/ 12 w 241"/>
                <a:gd name="T11" fmla="*/ 269 h 305"/>
                <a:gd name="T12" fmla="*/ 0 w 241"/>
                <a:gd name="T13" fmla="*/ 283 h 305"/>
                <a:gd name="T14" fmla="*/ 1 w 241"/>
                <a:gd name="T15" fmla="*/ 293 h 305"/>
                <a:gd name="T16" fmla="*/ 6 w 241"/>
                <a:gd name="T17" fmla="*/ 302 h 305"/>
                <a:gd name="T18" fmla="*/ 14 w 241"/>
                <a:gd name="T19" fmla="*/ 305 h 305"/>
                <a:gd name="T20" fmla="*/ 15 w 241"/>
                <a:gd name="T21" fmla="*/ 305 h 305"/>
                <a:gd name="T22" fmla="*/ 241 w 241"/>
                <a:gd name="T23" fmla="*/ 55 h 305"/>
                <a:gd name="T24" fmla="*/ 237 w 241"/>
                <a:gd name="T25" fmla="*/ 11 h 305"/>
                <a:gd name="T26" fmla="*/ 232 w 241"/>
                <a:gd name="T27" fmla="*/ 2 h 305"/>
                <a:gd name="T28" fmla="*/ 224 w 241"/>
                <a:gd name="T29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1" h="305">
                  <a:moveTo>
                    <a:pt x="224" y="0"/>
                  </a:moveTo>
                  <a:cubicBezTo>
                    <a:pt x="224" y="0"/>
                    <a:pt x="223" y="0"/>
                    <a:pt x="222" y="1"/>
                  </a:cubicBezTo>
                  <a:cubicBezTo>
                    <a:pt x="212" y="3"/>
                    <a:pt x="212" y="3"/>
                    <a:pt x="212" y="3"/>
                  </a:cubicBezTo>
                  <a:cubicBezTo>
                    <a:pt x="205" y="4"/>
                    <a:pt x="201" y="11"/>
                    <a:pt x="202" y="18"/>
                  </a:cubicBezTo>
                  <a:cubicBezTo>
                    <a:pt x="204" y="30"/>
                    <a:pt x="205" y="42"/>
                    <a:pt x="205" y="55"/>
                  </a:cubicBezTo>
                  <a:cubicBezTo>
                    <a:pt x="205" y="166"/>
                    <a:pt x="122" y="258"/>
                    <a:pt x="12" y="269"/>
                  </a:cubicBezTo>
                  <a:cubicBezTo>
                    <a:pt x="5" y="270"/>
                    <a:pt x="0" y="276"/>
                    <a:pt x="0" y="283"/>
                  </a:cubicBezTo>
                  <a:cubicBezTo>
                    <a:pt x="1" y="293"/>
                    <a:pt x="1" y="293"/>
                    <a:pt x="1" y="293"/>
                  </a:cubicBezTo>
                  <a:cubicBezTo>
                    <a:pt x="1" y="296"/>
                    <a:pt x="3" y="300"/>
                    <a:pt x="6" y="302"/>
                  </a:cubicBezTo>
                  <a:cubicBezTo>
                    <a:pt x="8" y="304"/>
                    <a:pt x="11" y="305"/>
                    <a:pt x="14" y="305"/>
                  </a:cubicBezTo>
                  <a:cubicBezTo>
                    <a:pt x="14" y="305"/>
                    <a:pt x="15" y="305"/>
                    <a:pt x="15" y="305"/>
                  </a:cubicBezTo>
                  <a:cubicBezTo>
                    <a:pt x="144" y="292"/>
                    <a:pt x="241" y="184"/>
                    <a:pt x="241" y="55"/>
                  </a:cubicBezTo>
                  <a:cubicBezTo>
                    <a:pt x="241" y="40"/>
                    <a:pt x="240" y="25"/>
                    <a:pt x="237" y="11"/>
                  </a:cubicBezTo>
                  <a:cubicBezTo>
                    <a:pt x="236" y="7"/>
                    <a:pt x="234" y="4"/>
                    <a:pt x="232" y="2"/>
                  </a:cubicBezTo>
                  <a:cubicBezTo>
                    <a:pt x="229" y="1"/>
                    <a:pt x="227" y="0"/>
                    <a:pt x="22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xmlns="" id="{69E79337-14B7-4262-A3E3-72B642BF6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1611"/>
              <a:ext cx="580" cy="392"/>
            </a:xfrm>
            <a:custGeom>
              <a:avLst/>
              <a:gdLst>
                <a:gd name="T0" fmla="*/ 238 w 278"/>
                <a:gd name="T1" fmla="*/ 0 h 188"/>
                <a:gd name="T2" fmla="*/ 1 w 278"/>
                <a:gd name="T3" fmla="*/ 168 h 188"/>
                <a:gd name="T4" fmla="*/ 2 w 278"/>
                <a:gd name="T5" fmla="*/ 178 h 188"/>
                <a:gd name="T6" fmla="*/ 10 w 278"/>
                <a:gd name="T7" fmla="*/ 185 h 188"/>
                <a:gd name="T8" fmla="*/ 19 w 278"/>
                <a:gd name="T9" fmla="*/ 188 h 188"/>
                <a:gd name="T10" fmla="*/ 23 w 278"/>
                <a:gd name="T11" fmla="*/ 188 h 188"/>
                <a:gd name="T12" fmla="*/ 35 w 278"/>
                <a:gd name="T13" fmla="*/ 180 h 188"/>
                <a:gd name="T14" fmla="*/ 238 w 278"/>
                <a:gd name="T15" fmla="*/ 36 h 188"/>
                <a:gd name="T16" fmla="*/ 262 w 278"/>
                <a:gd name="T17" fmla="*/ 37 h 188"/>
                <a:gd name="T18" fmla="*/ 263 w 278"/>
                <a:gd name="T19" fmla="*/ 37 h 188"/>
                <a:gd name="T20" fmla="*/ 276 w 278"/>
                <a:gd name="T21" fmla="*/ 26 h 188"/>
                <a:gd name="T22" fmla="*/ 278 w 278"/>
                <a:gd name="T23" fmla="*/ 17 h 188"/>
                <a:gd name="T24" fmla="*/ 275 w 278"/>
                <a:gd name="T25" fmla="*/ 7 h 188"/>
                <a:gd name="T26" fmla="*/ 267 w 278"/>
                <a:gd name="T27" fmla="*/ 2 h 188"/>
                <a:gd name="T28" fmla="*/ 238 w 278"/>
                <a:gd name="T29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8" h="188">
                  <a:moveTo>
                    <a:pt x="238" y="0"/>
                  </a:moveTo>
                  <a:cubicBezTo>
                    <a:pt x="132" y="0"/>
                    <a:pt x="36" y="68"/>
                    <a:pt x="1" y="168"/>
                  </a:cubicBezTo>
                  <a:cubicBezTo>
                    <a:pt x="0" y="172"/>
                    <a:pt x="0" y="175"/>
                    <a:pt x="2" y="178"/>
                  </a:cubicBezTo>
                  <a:cubicBezTo>
                    <a:pt x="4" y="181"/>
                    <a:pt x="6" y="184"/>
                    <a:pt x="10" y="185"/>
                  </a:cubicBezTo>
                  <a:cubicBezTo>
                    <a:pt x="19" y="188"/>
                    <a:pt x="19" y="188"/>
                    <a:pt x="19" y="188"/>
                  </a:cubicBezTo>
                  <a:cubicBezTo>
                    <a:pt x="20" y="188"/>
                    <a:pt x="22" y="188"/>
                    <a:pt x="23" y="188"/>
                  </a:cubicBezTo>
                  <a:cubicBezTo>
                    <a:pt x="28" y="188"/>
                    <a:pt x="33" y="185"/>
                    <a:pt x="35" y="180"/>
                  </a:cubicBezTo>
                  <a:cubicBezTo>
                    <a:pt x="65" y="94"/>
                    <a:pt x="147" y="36"/>
                    <a:pt x="238" y="36"/>
                  </a:cubicBezTo>
                  <a:cubicBezTo>
                    <a:pt x="246" y="36"/>
                    <a:pt x="254" y="36"/>
                    <a:pt x="262" y="37"/>
                  </a:cubicBezTo>
                  <a:cubicBezTo>
                    <a:pt x="263" y="37"/>
                    <a:pt x="263" y="37"/>
                    <a:pt x="263" y="37"/>
                  </a:cubicBezTo>
                  <a:cubicBezTo>
                    <a:pt x="270" y="37"/>
                    <a:pt x="275" y="33"/>
                    <a:pt x="276" y="26"/>
                  </a:cubicBezTo>
                  <a:cubicBezTo>
                    <a:pt x="278" y="17"/>
                    <a:pt x="278" y="17"/>
                    <a:pt x="278" y="17"/>
                  </a:cubicBezTo>
                  <a:cubicBezTo>
                    <a:pt x="278" y="13"/>
                    <a:pt x="277" y="10"/>
                    <a:pt x="275" y="7"/>
                  </a:cubicBezTo>
                  <a:cubicBezTo>
                    <a:pt x="273" y="4"/>
                    <a:pt x="270" y="2"/>
                    <a:pt x="267" y="2"/>
                  </a:cubicBezTo>
                  <a:cubicBezTo>
                    <a:pt x="257" y="1"/>
                    <a:pt x="248" y="0"/>
                    <a:pt x="23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xmlns="" id="{425233AD-40AF-4B57-BE48-FD97A8F05B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9" y="1553"/>
              <a:ext cx="502" cy="502"/>
            </a:xfrm>
            <a:custGeom>
              <a:avLst/>
              <a:gdLst>
                <a:gd name="T0" fmla="*/ 161 w 241"/>
                <a:gd name="T1" fmla="*/ 31 h 241"/>
                <a:gd name="T2" fmla="*/ 162 w 241"/>
                <a:gd name="T3" fmla="*/ 68 h 241"/>
                <a:gd name="T4" fmla="*/ 184 w 241"/>
                <a:gd name="T5" fmla="*/ 103 h 241"/>
                <a:gd name="T6" fmla="*/ 218 w 241"/>
                <a:gd name="T7" fmla="*/ 111 h 241"/>
                <a:gd name="T8" fmla="*/ 186 w 241"/>
                <a:gd name="T9" fmla="*/ 130 h 241"/>
                <a:gd name="T10" fmla="*/ 168 w 241"/>
                <a:gd name="T11" fmla="*/ 167 h 241"/>
                <a:gd name="T12" fmla="*/ 178 w 241"/>
                <a:gd name="T13" fmla="*/ 200 h 241"/>
                <a:gd name="T14" fmla="*/ 145 w 241"/>
                <a:gd name="T15" fmla="*/ 182 h 241"/>
                <a:gd name="T16" fmla="*/ 121 w 241"/>
                <a:gd name="T17" fmla="*/ 187 h 241"/>
                <a:gd name="T18" fmla="*/ 96 w 241"/>
                <a:gd name="T19" fmla="*/ 183 h 241"/>
                <a:gd name="T20" fmla="*/ 63 w 241"/>
                <a:gd name="T21" fmla="*/ 201 h 241"/>
                <a:gd name="T22" fmla="*/ 73 w 241"/>
                <a:gd name="T23" fmla="*/ 167 h 241"/>
                <a:gd name="T24" fmla="*/ 55 w 241"/>
                <a:gd name="T25" fmla="*/ 130 h 241"/>
                <a:gd name="T26" fmla="*/ 23 w 241"/>
                <a:gd name="T27" fmla="*/ 111 h 241"/>
                <a:gd name="T28" fmla="*/ 57 w 241"/>
                <a:gd name="T29" fmla="*/ 103 h 241"/>
                <a:gd name="T30" fmla="*/ 79 w 241"/>
                <a:gd name="T31" fmla="*/ 69 h 241"/>
                <a:gd name="T32" fmla="*/ 80 w 241"/>
                <a:gd name="T33" fmla="*/ 31 h 241"/>
                <a:gd name="T34" fmla="*/ 104 w 241"/>
                <a:gd name="T35" fmla="*/ 57 h 241"/>
                <a:gd name="T36" fmla="*/ 137 w 241"/>
                <a:gd name="T37" fmla="*/ 57 h 241"/>
                <a:gd name="T38" fmla="*/ 153 w 241"/>
                <a:gd name="T39" fmla="*/ 0 h 241"/>
                <a:gd name="T40" fmla="*/ 121 w 241"/>
                <a:gd name="T41" fmla="*/ 32 h 241"/>
                <a:gd name="T42" fmla="*/ 88 w 241"/>
                <a:gd name="T43" fmla="*/ 1 h 241"/>
                <a:gd name="T44" fmla="*/ 51 w 241"/>
                <a:gd name="T45" fmla="*/ 66 h 241"/>
                <a:gd name="T46" fmla="*/ 0 w 241"/>
                <a:gd name="T47" fmla="*/ 88 h 241"/>
                <a:gd name="T48" fmla="*/ 38 w 241"/>
                <a:gd name="T49" fmla="*/ 153 h 241"/>
                <a:gd name="T50" fmla="*/ 33 w 241"/>
                <a:gd name="T51" fmla="*/ 209 h 241"/>
                <a:gd name="T52" fmla="*/ 107 w 241"/>
                <a:gd name="T53" fmla="*/ 208 h 241"/>
                <a:gd name="T54" fmla="*/ 134 w 241"/>
                <a:gd name="T55" fmla="*/ 208 h 241"/>
                <a:gd name="T56" fmla="*/ 209 w 241"/>
                <a:gd name="T57" fmla="*/ 208 h 241"/>
                <a:gd name="T58" fmla="*/ 203 w 241"/>
                <a:gd name="T59" fmla="*/ 153 h 241"/>
                <a:gd name="T60" fmla="*/ 241 w 241"/>
                <a:gd name="T61" fmla="*/ 88 h 241"/>
                <a:gd name="T62" fmla="*/ 190 w 241"/>
                <a:gd name="T63" fmla="*/ 65 h 241"/>
                <a:gd name="T64" fmla="*/ 153 w 241"/>
                <a:gd name="T65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1" h="241">
                  <a:moveTo>
                    <a:pt x="145" y="59"/>
                  </a:moveTo>
                  <a:cubicBezTo>
                    <a:pt x="161" y="31"/>
                    <a:pt x="161" y="31"/>
                    <a:pt x="161" y="31"/>
                  </a:cubicBezTo>
                  <a:cubicBezTo>
                    <a:pt x="178" y="41"/>
                    <a:pt x="178" y="41"/>
                    <a:pt x="178" y="41"/>
                  </a:cubicBezTo>
                  <a:cubicBezTo>
                    <a:pt x="162" y="68"/>
                    <a:pt x="162" y="68"/>
                    <a:pt x="162" y="68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76" y="82"/>
                    <a:pt x="181" y="92"/>
                    <a:pt x="184" y="103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186" y="130"/>
                    <a:pt x="186" y="130"/>
                    <a:pt x="186" y="130"/>
                  </a:cubicBezTo>
                  <a:cubicBezTo>
                    <a:pt x="184" y="139"/>
                    <a:pt x="184" y="139"/>
                    <a:pt x="184" y="139"/>
                  </a:cubicBezTo>
                  <a:cubicBezTo>
                    <a:pt x="181" y="149"/>
                    <a:pt x="176" y="159"/>
                    <a:pt x="168" y="167"/>
                  </a:cubicBezTo>
                  <a:cubicBezTo>
                    <a:pt x="162" y="173"/>
                    <a:pt x="162" y="173"/>
                    <a:pt x="162" y="173"/>
                  </a:cubicBezTo>
                  <a:cubicBezTo>
                    <a:pt x="178" y="200"/>
                    <a:pt x="178" y="200"/>
                    <a:pt x="178" y="200"/>
                  </a:cubicBezTo>
                  <a:cubicBezTo>
                    <a:pt x="161" y="210"/>
                    <a:pt x="161" y="210"/>
                    <a:pt x="161" y="210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37" y="185"/>
                    <a:pt x="137" y="185"/>
                    <a:pt x="137" y="185"/>
                  </a:cubicBezTo>
                  <a:cubicBezTo>
                    <a:pt x="132" y="186"/>
                    <a:pt x="126" y="187"/>
                    <a:pt x="121" y="187"/>
                  </a:cubicBezTo>
                  <a:cubicBezTo>
                    <a:pt x="115" y="187"/>
                    <a:pt x="110" y="186"/>
                    <a:pt x="104" y="18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80" y="210"/>
                    <a:pt x="80" y="210"/>
                    <a:pt x="80" y="210"/>
                  </a:cubicBezTo>
                  <a:cubicBezTo>
                    <a:pt x="63" y="201"/>
                    <a:pt x="63" y="201"/>
                    <a:pt x="63" y="20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73" y="167"/>
                    <a:pt x="73" y="167"/>
                    <a:pt x="73" y="167"/>
                  </a:cubicBezTo>
                  <a:cubicBezTo>
                    <a:pt x="66" y="159"/>
                    <a:pt x="60" y="149"/>
                    <a:pt x="57" y="139"/>
                  </a:cubicBezTo>
                  <a:cubicBezTo>
                    <a:pt x="55" y="130"/>
                    <a:pt x="55" y="130"/>
                    <a:pt x="55" y="130"/>
                  </a:cubicBezTo>
                  <a:cubicBezTo>
                    <a:pt x="23" y="130"/>
                    <a:pt x="23" y="130"/>
                    <a:pt x="23" y="130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60" y="92"/>
                    <a:pt x="65" y="83"/>
                    <a:pt x="73" y="75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110" y="55"/>
                    <a:pt x="115" y="55"/>
                    <a:pt x="121" y="55"/>
                  </a:cubicBezTo>
                  <a:cubicBezTo>
                    <a:pt x="126" y="55"/>
                    <a:pt x="131" y="55"/>
                    <a:pt x="137" y="57"/>
                  </a:cubicBezTo>
                  <a:cubicBezTo>
                    <a:pt x="145" y="59"/>
                    <a:pt x="145" y="59"/>
                    <a:pt x="145" y="59"/>
                  </a:cubicBezTo>
                  <a:moveTo>
                    <a:pt x="153" y="0"/>
                  </a:moveTo>
                  <a:cubicBezTo>
                    <a:pt x="134" y="33"/>
                    <a:pt x="134" y="33"/>
                    <a:pt x="134" y="33"/>
                  </a:cubicBezTo>
                  <a:cubicBezTo>
                    <a:pt x="129" y="32"/>
                    <a:pt x="125" y="32"/>
                    <a:pt x="121" y="32"/>
                  </a:cubicBezTo>
                  <a:cubicBezTo>
                    <a:pt x="116" y="32"/>
                    <a:pt x="111" y="32"/>
                    <a:pt x="107" y="33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46" y="73"/>
                    <a:pt x="41" y="80"/>
                    <a:pt x="38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8" y="153"/>
                    <a:pt x="38" y="153"/>
                    <a:pt x="38" y="153"/>
                  </a:cubicBezTo>
                  <a:cubicBezTo>
                    <a:pt x="41" y="161"/>
                    <a:pt x="46" y="169"/>
                    <a:pt x="52" y="176"/>
                  </a:cubicBezTo>
                  <a:cubicBezTo>
                    <a:pt x="33" y="209"/>
                    <a:pt x="33" y="209"/>
                    <a:pt x="33" y="209"/>
                  </a:cubicBezTo>
                  <a:cubicBezTo>
                    <a:pt x="88" y="241"/>
                    <a:pt x="88" y="241"/>
                    <a:pt x="88" y="241"/>
                  </a:cubicBezTo>
                  <a:cubicBezTo>
                    <a:pt x="107" y="208"/>
                    <a:pt x="107" y="208"/>
                    <a:pt x="107" y="208"/>
                  </a:cubicBezTo>
                  <a:cubicBezTo>
                    <a:pt x="112" y="209"/>
                    <a:pt x="116" y="209"/>
                    <a:pt x="121" y="209"/>
                  </a:cubicBezTo>
                  <a:cubicBezTo>
                    <a:pt x="125" y="209"/>
                    <a:pt x="130" y="209"/>
                    <a:pt x="134" y="208"/>
                  </a:cubicBezTo>
                  <a:cubicBezTo>
                    <a:pt x="153" y="241"/>
                    <a:pt x="153" y="241"/>
                    <a:pt x="153" y="241"/>
                  </a:cubicBezTo>
                  <a:cubicBezTo>
                    <a:pt x="209" y="208"/>
                    <a:pt x="209" y="208"/>
                    <a:pt x="209" y="208"/>
                  </a:cubicBezTo>
                  <a:cubicBezTo>
                    <a:pt x="190" y="176"/>
                    <a:pt x="190" y="176"/>
                    <a:pt x="190" y="176"/>
                  </a:cubicBezTo>
                  <a:cubicBezTo>
                    <a:pt x="195" y="169"/>
                    <a:pt x="200" y="161"/>
                    <a:pt x="203" y="153"/>
                  </a:cubicBezTo>
                  <a:cubicBezTo>
                    <a:pt x="241" y="153"/>
                    <a:pt x="241" y="153"/>
                    <a:pt x="241" y="153"/>
                  </a:cubicBezTo>
                  <a:cubicBezTo>
                    <a:pt x="241" y="88"/>
                    <a:pt x="241" y="88"/>
                    <a:pt x="241" y="88"/>
                  </a:cubicBezTo>
                  <a:cubicBezTo>
                    <a:pt x="203" y="88"/>
                    <a:pt x="203" y="88"/>
                    <a:pt x="203" y="88"/>
                  </a:cubicBezTo>
                  <a:cubicBezTo>
                    <a:pt x="200" y="80"/>
                    <a:pt x="195" y="72"/>
                    <a:pt x="190" y="65"/>
                  </a:cubicBezTo>
                  <a:cubicBezTo>
                    <a:pt x="208" y="33"/>
                    <a:pt x="208" y="33"/>
                    <a:pt x="208" y="33"/>
                  </a:cubicBezTo>
                  <a:cubicBezTo>
                    <a:pt x="153" y="0"/>
                    <a:pt x="153" y="0"/>
                    <a:pt x="15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xmlns="" id="{0337BFEF-66B7-440E-80C2-692AD62DCD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38" y="1722"/>
              <a:ext cx="164" cy="166"/>
            </a:xfrm>
            <a:custGeom>
              <a:avLst/>
              <a:gdLst>
                <a:gd name="T0" fmla="*/ 40 w 79"/>
                <a:gd name="T1" fmla="*/ 57 h 80"/>
                <a:gd name="T2" fmla="*/ 22 w 79"/>
                <a:gd name="T3" fmla="*/ 40 h 80"/>
                <a:gd name="T4" fmla="*/ 40 w 79"/>
                <a:gd name="T5" fmla="*/ 22 h 80"/>
                <a:gd name="T6" fmla="*/ 57 w 79"/>
                <a:gd name="T7" fmla="*/ 40 h 80"/>
                <a:gd name="T8" fmla="*/ 40 w 79"/>
                <a:gd name="T9" fmla="*/ 57 h 80"/>
                <a:gd name="T10" fmla="*/ 40 w 79"/>
                <a:gd name="T11" fmla="*/ 0 h 80"/>
                <a:gd name="T12" fmla="*/ 0 w 79"/>
                <a:gd name="T13" fmla="*/ 40 h 80"/>
                <a:gd name="T14" fmla="*/ 40 w 79"/>
                <a:gd name="T15" fmla="*/ 80 h 80"/>
                <a:gd name="T16" fmla="*/ 79 w 79"/>
                <a:gd name="T17" fmla="*/ 40 h 80"/>
                <a:gd name="T18" fmla="*/ 40 w 79"/>
                <a:gd name="T1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80">
                  <a:moveTo>
                    <a:pt x="40" y="57"/>
                  </a:moveTo>
                  <a:cubicBezTo>
                    <a:pt x="30" y="57"/>
                    <a:pt x="22" y="49"/>
                    <a:pt x="22" y="40"/>
                  </a:cubicBezTo>
                  <a:cubicBezTo>
                    <a:pt x="22" y="30"/>
                    <a:pt x="30" y="22"/>
                    <a:pt x="40" y="22"/>
                  </a:cubicBezTo>
                  <a:cubicBezTo>
                    <a:pt x="49" y="22"/>
                    <a:pt x="57" y="30"/>
                    <a:pt x="57" y="40"/>
                  </a:cubicBezTo>
                  <a:cubicBezTo>
                    <a:pt x="57" y="49"/>
                    <a:pt x="49" y="57"/>
                    <a:pt x="40" y="57"/>
                  </a:cubicBezTo>
                  <a:moveTo>
                    <a:pt x="40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62" y="80"/>
                    <a:pt x="79" y="62"/>
                    <a:pt x="79" y="40"/>
                  </a:cubicBezTo>
                  <a:cubicBezTo>
                    <a:pt x="79" y="18"/>
                    <a:pt x="62" y="0"/>
                    <a:pt x="4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xmlns="" id="{0C4F3DCD-0292-41B6-80C0-DE9D5CCF6C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4" y="2024"/>
              <a:ext cx="746" cy="745"/>
            </a:xfrm>
            <a:custGeom>
              <a:avLst/>
              <a:gdLst>
                <a:gd name="T0" fmla="*/ 122 w 358"/>
                <a:gd name="T1" fmla="*/ 86 h 358"/>
                <a:gd name="T2" fmla="*/ 166 w 358"/>
                <a:gd name="T3" fmla="*/ 70 h 358"/>
                <a:gd name="T4" fmla="*/ 192 w 358"/>
                <a:gd name="T5" fmla="*/ 32 h 358"/>
                <a:gd name="T6" fmla="*/ 204 w 358"/>
                <a:gd name="T7" fmla="*/ 73 h 358"/>
                <a:gd name="T8" fmla="*/ 246 w 358"/>
                <a:gd name="T9" fmla="*/ 93 h 358"/>
                <a:gd name="T10" fmla="*/ 292 w 358"/>
                <a:gd name="T11" fmla="*/ 84 h 358"/>
                <a:gd name="T12" fmla="*/ 271 w 358"/>
                <a:gd name="T13" fmla="*/ 122 h 358"/>
                <a:gd name="T14" fmla="*/ 287 w 358"/>
                <a:gd name="T15" fmla="*/ 166 h 358"/>
                <a:gd name="T16" fmla="*/ 326 w 358"/>
                <a:gd name="T17" fmla="*/ 192 h 358"/>
                <a:gd name="T18" fmla="*/ 285 w 358"/>
                <a:gd name="T19" fmla="*/ 204 h 358"/>
                <a:gd name="T20" fmla="*/ 265 w 358"/>
                <a:gd name="T21" fmla="*/ 247 h 358"/>
                <a:gd name="T22" fmla="*/ 274 w 358"/>
                <a:gd name="T23" fmla="*/ 292 h 358"/>
                <a:gd name="T24" fmla="*/ 236 w 358"/>
                <a:gd name="T25" fmla="*/ 272 h 358"/>
                <a:gd name="T26" fmla="*/ 192 w 358"/>
                <a:gd name="T27" fmla="*/ 288 h 358"/>
                <a:gd name="T28" fmla="*/ 166 w 358"/>
                <a:gd name="T29" fmla="*/ 326 h 358"/>
                <a:gd name="T30" fmla="*/ 154 w 358"/>
                <a:gd name="T31" fmla="*/ 285 h 358"/>
                <a:gd name="T32" fmla="*/ 111 w 358"/>
                <a:gd name="T33" fmla="*/ 265 h 358"/>
                <a:gd name="T34" fmla="*/ 66 w 358"/>
                <a:gd name="T35" fmla="*/ 274 h 358"/>
                <a:gd name="T36" fmla="*/ 86 w 358"/>
                <a:gd name="T37" fmla="*/ 236 h 358"/>
                <a:gd name="T38" fmla="*/ 70 w 358"/>
                <a:gd name="T39" fmla="*/ 192 h 358"/>
                <a:gd name="T40" fmla="*/ 32 w 358"/>
                <a:gd name="T41" fmla="*/ 166 h 358"/>
                <a:gd name="T42" fmla="*/ 73 w 358"/>
                <a:gd name="T43" fmla="*/ 154 h 358"/>
                <a:gd name="T44" fmla="*/ 93 w 358"/>
                <a:gd name="T45" fmla="*/ 111 h 358"/>
                <a:gd name="T46" fmla="*/ 84 w 358"/>
                <a:gd name="T47" fmla="*/ 66 h 358"/>
                <a:gd name="T48" fmla="*/ 223 w 358"/>
                <a:gd name="T49" fmla="*/ 0 h 358"/>
                <a:gd name="T50" fmla="*/ 134 w 358"/>
                <a:gd name="T51" fmla="*/ 46 h 358"/>
                <a:gd name="T52" fmla="*/ 84 w 358"/>
                <a:gd name="T53" fmla="*/ 21 h 358"/>
                <a:gd name="T54" fmla="*/ 53 w 358"/>
                <a:gd name="T55" fmla="*/ 116 h 358"/>
                <a:gd name="T56" fmla="*/ 0 w 358"/>
                <a:gd name="T57" fmla="*/ 134 h 358"/>
                <a:gd name="T58" fmla="*/ 46 w 358"/>
                <a:gd name="T59" fmla="*/ 224 h 358"/>
                <a:gd name="T60" fmla="*/ 21 w 358"/>
                <a:gd name="T61" fmla="*/ 274 h 358"/>
                <a:gd name="T62" fmla="*/ 116 w 358"/>
                <a:gd name="T63" fmla="*/ 305 h 358"/>
                <a:gd name="T64" fmla="*/ 134 w 358"/>
                <a:gd name="T65" fmla="*/ 358 h 358"/>
                <a:gd name="T66" fmla="*/ 223 w 358"/>
                <a:gd name="T67" fmla="*/ 312 h 358"/>
                <a:gd name="T68" fmla="*/ 274 w 358"/>
                <a:gd name="T69" fmla="*/ 337 h 358"/>
                <a:gd name="T70" fmla="*/ 304 w 358"/>
                <a:gd name="T71" fmla="*/ 242 h 358"/>
                <a:gd name="T72" fmla="*/ 358 w 358"/>
                <a:gd name="T73" fmla="*/ 224 h 358"/>
                <a:gd name="T74" fmla="*/ 312 w 358"/>
                <a:gd name="T75" fmla="*/ 134 h 358"/>
                <a:gd name="T76" fmla="*/ 337 w 358"/>
                <a:gd name="T77" fmla="*/ 84 h 358"/>
                <a:gd name="T78" fmla="*/ 241 w 358"/>
                <a:gd name="T79" fmla="*/ 53 h 358"/>
                <a:gd name="T80" fmla="*/ 223 w 358"/>
                <a:gd name="T81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8" h="358">
                  <a:moveTo>
                    <a:pt x="111" y="93"/>
                  </a:moveTo>
                  <a:cubicBezTo>
                    <a:pt x="122" y="86"/>
                    <a:pt x="122" y="86"/>
                    <a:pt x="122" y="86"/>
                  </a:cubicBezTo>
                  <a:cubicBezTo>
                    <a:pt x="132" y="80"/>
                    <a:pt x="142" y="76"/>
                    <a:pt x="154" y="73"/>
                  </a:cubicBezTo>
                  <a:cubicBezTo>
                    <a:pt x="166" y="70"/>
                    <a:pt x="166" y="70"/>
                    <a:pt x="166" y="70"/>
                  </a:cubicBezTo>
                  <a:cubicBezTo>
                    <a:pt x="166" y="32"/>
                    <a:pt x="166" y="32"/>
                    <a:pt x="166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70"/>
                    <a:pt x="192" y="70"/>
                    <a:pt x="192" y="70"/>
                  </a:cubicBezTo>
                  <a:cubicBezTo>
                    <a:pt x="204" y="73"/>
                    <a:pt x="204" y="73"/>
                    <a:pt x="204" y="73"/>
                  </a:cubicBezTo>
                  <a:cubicBezTo>
                    <a:pt x="215" y="76"/>
                    <a:pt x="226" y="80"/>
                    <a:pt x="236" y="86"/>
                  </a:cubicBezTo>
                  <a:cubicBezTo>
                    <a:pt x="246" y="93"/>
                    <a:pt x="246" y="93"/>
                    <a:pt x="246" y="93"/>
                  </a:cubicBezTo>
                  <a:cubicBezTo>
                    <a:pt x="274" y="66"/>
                    <a:pt x="274" y="66"/>
                    <a:pt x="274" y="66"/>
                  </a:cubicBezTo>
                  <a:cubicBezTo>
                    <a:pt x="292" y="84"/>
                    <a:pt x="292" y="84"/>
                    <a:pt x="292" y="84"/>
                  </a:cubicBezTo>
                  <a:cubicBezTo>
                    <a:pt x="265" y="111"/>
                    <a:pt x="265" y="111"/>
                    <a:pt x="265" y="111"/>
                  </a:cubicBezTo>
                  <a:cubicBezTo>
                    <a:pt x="271" y="122"/>
                    <a:pt x="271" y="122"/>
                    <a:pt x="271" y="122"/>
                  </a:cubicBezTo>
                  <a:cubicBezTo>
                    <a:pt x="277" y="132"/>
                    <a:pt x="282" y="143"/>
                    <a:pt x="285" y="154"/>
                  </a:cubicBezTo>
                  <a:cubicBezTo>
                    <a:pt x="287" y="166"/>
                    <a:pt x="287" y="166"/>
                    <a:pt x="287" y="166"/>
                  </a:cubicBezTo>
                  <a:cubicBezTo>
                    <a:pt x="326" y="166"/>
                    <a:pt x="326" y="166"/>
                    <a:pt x="326" y="166"/>
                  </a:cubicBezTo>
                  <a:cubicBezTo>
                    <a:pt x="326" y="192"/>
                    <a:pt x="326" y="192"/>
                    <a:pt x="326" y="192"/>
                  </a:cubicBezTo>
                  <a:cubicBezTo>
                    <a:pt x="287" y="192"/>
                    <a:pt x="287" y="192"/>
                    <a:pt x="287" y="192"/>
                  </a:cubicBezTo>
                  <a:cubicBezTo>
                    <a:pt x="285" y="204"/>
                    <a:pt x="285" y="204"/>
                    <a:pt x="285" y="204"/>
                  </a:cubicBezTo>
                  <a:cubicBezTo>
                    <a:pt x="282" y="215"/>
                    <a:pt x="277" y="226"/>
                    <a:pt x="271" y="236"/>
                  </a:cubicBezTo>
                  <a:cubicBezTo>
                    <a:pt x="265" y="247"/>
                    <a:pt x="265" y="247"/>
                    <a:pt x="265" y="247"/>
                  </a:cubicBezTo>
                  <a:cubicBezTo>
                    <a:pt x="292" y="274"/>
                    <a:pt x="292" y="274"/>
                    <a:pt x="292" y="274"/>
                  </a:cubicBezTo>
                  <a:cubicBezTo>
                    <a:pt x="274" y="292"/>
                    <a:pt x="274" y="292"/>
                    <a:pt x="274" y="292"/>
                  </a:cubicBezTo>
                  <a:cubicBezTo>
                    <a:pt x="246" y="265"/>
                    <a:pt x="246" y="265"/>
                    <a:pt x="246" y="265"/>
                  </a:cubicBezTo>
                  <a:cubicBezTo>
                    <a:pt x="236" y="272"/>
                    <a:pt x="236" y="272"/>
                    <a:pt x="236" y="272"/>
                  </a:cubicBezTo>
                  <a:cubicBezTo>
                    <a:pt x="226" y="278"/>
                    <a:pt x="215" y="282"/>
                    <a:pt x="204" y="285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92" y="326"/>
                    <a:pt x="192" y="326"/>
                    <a:pt x="192" y="326"/>
                  </a:cubicBezTo>
                  <a:cubicBezTo>
                    <a:pt x="166" y="326"/>
                    <a:pt x="166" y="326"/>
                    <a:pt x="166" y="326"/>
                  </a:cubicBezTo>
                  <a:cubicBezTo>
                    <a:pt x="166" y="288"/>
                    <a:pt x="166" y="288"/>
                    <a:pt x="166" y="288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42" y="282"/>
                    <a:pt x="132" y="278"/>
                    <a:pt x="122" y="272"/>
                  </a:cubicBezTo>
                  <a:cubicBezTo>
                    <a:pt x="111" y="265"/>
                    <a:pt x="111" y="265"/>
                    <a:pt x="111" y="265"/>
                  </a:cubicBezTo>
                  <a:cubicBezTo>
                    <a:pt x="84" y="292"/>
                    <a:pt x="84" y="292"/>
                    <a:pt x="84" y="292"/>
                  </a:cubicBezTo>
                  <a:cubicBezTo>
                    <a:pt x="66" y="274"/>
                    <a:pt x="66" y="274"/>
                    <a:pt x="66" y="274"/>
                  </a:cubicBezTo>
                  <a:cubicBezTo>
                    <a:pt x="93" y="247"/>
                    <a:pt x="93" y="247"/>
                    <a:pt x="93" y="247"/>
                  </a:cubicBezTo>
                  <a:cubicBezTo>
                    <a:pt x="86" y="236"/>
                    <a:pt x="86" y="236"/>
                    <a:pt x="86" y="236"/>
                  </a:cubicBezTo>
                  <a:cubicBezTo>
                    <a:pt x="80" y="226"/>
                    <a:pt x="76" y="215"/>
                    <a:pt x="73" y="204"/>
                  </a:cubicBezTo>
                  <a:cubicBezTo>
                    <a:pt x="70" y="192"/>
                    <a:pt x="70" y="192"/>
                    <a:pt x="70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70" y="166"/>
                    <a:pt x="70" y="166"/>
                    <a:pt x="70" y="16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6" y="143"/>
                    <a:pt x="80" y="132"/>
                    <a:pt x="86" y="122"/>
                  </a:cubicBezTo>
                  <a:cubicBezTo>
                    <a:pt x="93" y="111"/>
                    <a:pt x="93" y="111"/>
                    <a:pt x="93" y="111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111" y="93"/>
                    <a:pt x="111" y="93"/>
                    <a:pt x="111" y="93"/>
                  </a:cubicBezTo>
                  <a:moveTo>
                    <a:pt x="223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4" y="46"/>
                    <a:pt x="134" y="46"/>
                    <a:pt x="134" y="46"/>
                  </a:cubicBezTo>
                  <a:cubicBezTo>
                    <a:pt x="128" y="48"/>
                    <a:pt x="122" y="51"/>
                    <a:pt x="116" y="53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0" y="122"/>
                    <a:pt x="48" y="128"/>
                    <a:pt x="46" y="134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46" y="224"/>
                    <a:pt x="46" y="224"/>
                    <a:pt x="46" y="224"/>
                  </a:cubicBezTo>
                  <a:cubicBezTo>
                    <a:pt x="48" y="230"/>
                    <a:pt x="50" y="236"/>
                    <a:pt x="53" y="242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84" y="337"/>
                    <a:pt x="84" y="337"/>
                    <a:pt x="84" y="337"/>
                  </a:cubicBezTo>
                  <a:cubicBezTo>
                    <a:pt x="116" y="305"/>
                    <a:pt x="116" y="305"/>
                    <a:pt x="116" y="305"/>
                  </a:cubicBezTo>
                  <a:cubicBezTo>
                    <a:pt x="122" y="307"/>
                    <a:pt x="128" y="310"/>
                    <a:pt x="134" y="312"/>
                  </a:cubicBezTo>
                  <a:cubicBezTo>
                    <a:pt x="134" y="358"/>
                    <a:pt x="134" y="358"/>
                    <a:pt x="134" y="358"/>
                  </a:cubicBezTo>
                  <a:cubicBezTo>
                    <a:pt x="223" y="358"/>
                    <a:pt x="223" y="358"/>
                    <a:pt x="223" y="358"/>
                  </a:cubicBezTo>
                  <a:cubicBezTo>
                    <a:pt x="223" y="312"/>
                    <a:pt x="223" y="312"/>
                    <a:pt x="223" y="312"/>
                  </a:cubicBezTo>
                  <a:cubicBezTo>
                    <a:pt x="230" y="310"/>
                    <a:pt x="235" y="307"/>
                    <a:pt x="241" y="305"/>
                  </a:cubicBezTo>
                  <a:cubicBezTo>
                    <a:pt x="274" y="337"/>
                    <a:pt x="274" y="337"/>
                    <a:pt x="274" y="337"/>
                  </a:cubicBezTo>
                  <a:cubicBezTo>
                    <a:pt x="337" y="274"/>
                    <a:pt x="337" y="274"/>
                    <a:pt x="337" y="274"/>
                  </a:cubicBezTo>
                  <a:cubicBezTo>
                    <a:pt x="304" y="242"/>
                    <a:pt x="304" y="242"/>
                    <a:pt x="304" y="242"/>
                  </a:cubicBezTo>
                  <a:cubicBezTo>
                    <a:pt x="307" y="236"/>
                    <a:pt x="310" y="230"/>
                    <a:pt x="312" y="224"/>
                  </a:cubicBezTo>
                  <a:cubicBezTo>
                    <a:pt x="358" y="224"/>
                    <a:pt x="358" y="224"/>
                    <a:pt x="358" y="224"/>
                  </a:cubicBezTo>
                  <a:cubicBezTo>
                    <a:pt x="358" y="134"/>
                    <a:pt x="358" y="134"/>
                    <a:pt x="358" y="134"/>
                  </a:cubicBezTo>
                  <a:cubicBezTo>
                    <a:pt x="312" y="134"/>
                    <a:pt x="312" y="134"/>
                    <a:pt x="312" y="134"/>
                  </a:cubicBezTo>
                  <a:cubicBezTo>
                    <a:pt x="310" y="128"/>
                    <a:pt x="307" y="122"/>
                    <a:pt x="304" y="116"/>
                  </a:cubicBezTo>
                  <a:cubicBezTo>
                    <a:pt x="337" y="84"/>
                    <a:pt x="337" y="84"/>
                    <a:pt x="337" y="84"/>
                  </a:cubicBezTo>
                  <a:cubicBezTo>
                    <a:pt x="274" y="21"/>
                    <a:pt x="274" y="21"/>
                    <a:pt x="274" y="21"/>
                  </a:cubicBezTo>
                  <a:cubicBezTo>
                    <a:pt x="241" y="53"/>
                    <a:pt x="241" y="53"/>
                    <a:pt x="241" y="53"/>
                  </a:cubicBezTo>
                  <a:cubicBezTo>
                    <a:pt x="235" y="51"/>
                    <a:pt x="230" y="48"/>
                    <a:pt x="223" y="46"/>
                  </a:cubicBezTo>
                  <a:cubicBezTo>
                    <a:pt x="223" y="0"/>
                    <a:pt x="223" y="0"/>
                    <a:pt x="22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xmlns="" id="{AB071336-6974-45DC-A74E-8B53A62EFB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0" y="2269"/>
              <a:ext cx="252" cy="254"/>
            </a:xfrm>
            <a:custGeom>
              <a:avLst/>
              <a:gdLst>
                <a:gd name="T0" fmla="*/ 61 w 121"/>
                <a:gd name="T1" fmla="*/ 90 h 122"/>
                <a:gd name="T2" fmla="*/ 32 w 121"/>
                <a:gd name="T3" fmla="*/ 61 h 122"/>
                <a:gd name="T4" fmla="*/ 61 w 121"/>
                <a:gd name="T5" fmla="*/ 32 h 122"/>
                <a:gd name="T6" fmla="*/ 90 w 121"/>
                <a:gd name="T7" fmla="*/ 61 h 122"/>
                <a:gd name="T8" fmla="*/ 61 w 121"/>
                <a:gd name="T9" fmla="*/ 90 h 122"/>
                <a:gd name="T10" fmla="*/ 61 w 121"/>
                <a:gd name="T11" fmla="*/ 0 h 122"/>
                <a:gd name="T12" fmla="*/ 0 w 121"/>
                <a:gd name="T13" fmla="*/ 61 h 122"/>
                <a:gd name="T14" fmla="*/ 61 w 121"/>
                <a:gd name="T15" fmla="*/ 122 h 122"/>
                <a:gd name="T16" fmla="*/ 121 w 121"/>
                <a:gd name="T17" fmla="*/ 61 h 122"/>
                <a:gd name="T18" fmla="*/ 61 w 121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22">
                  <a:moveTo>
                    <a:pt x="61" y="90"/>
                  </a:moveTo>
                  <a:cubicBezTo>
                    <a:pt x="45" y="90"/>
                    <a:pt x="32" y="77"/>
                    <a:pt x="32" y="61"/>
                  </a:cubicBezTo>
                  <a:cubicBezTo>
                    <a:pt x="32" y="45"/>
                    <a:pt x="45" y="32"/>
                    <a:pt x="61" y="32"/>
                  </a:cubicBezTo>
                  <a:cubicBezTo>
                    <a:pt x="77" y="32"/>
                    <a:pt x="90" y="45"/>
                    <a:pt x="90" y="61"/>
                  </a:cubicBezTo>
                  <a:cubicBezTo>
                    <a:pt x="90" y="77"/>
                    <a:pt x="77" y="90"/>
                    <a:pt x="61" y="90"/>
                  </a:cubicBezTo>
                  <a:moveTo>
                    <a:pt x="61" y="0"/>
                  </a:moveTo>
                  <a:cubicBezTo>
                    <a:pt x="27" y="0"/>
                    <a:pt x="0" y="28"/>
                    <a:pt x="0" y="61"/>
                  </a:cubicBezTo>
                  <a:cubicBezTo>
                    <a:pt x="0" y="94"/>
                    <a:pt x="27" y="122"/>
                    <a:pt x="61" y="122"/>
                  </a:cubicBezTo>
                  <a:cubicBezTo>
                    <a:pt x="94" y="122"/>
                    <a:pt x="121" y="94"/>
                    <a:pt x="121" y="61"/>
                  </a:cubicBezTo>
                  <a:cubicBezTo>
                    <a:pt x="121" y="28"/>
                    <a:pt x="94" y="0"/>
                    <a:pt x="6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58" name="Group 51">
            <a:extLst>
              <a:ext uri="{FF2B5EF4-FFF2-40B4-BE49-F238E27FC236}">
                <a16:creationId xmlns:a16="http://schemas.microsoft.com/office/drawing/2014/main" xmlns="" id="{560FB3A3-0BF7-4F98-AB0B-B626D9B1952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416655" y="4255566"/>
            <a:ext cx="1190875" cy="1149124"/>
            <a:chOff x="3536" y="1871"/>
            <a:chExt cx="599" cy="578"/>
          </a:xfrm>
          <a:solidFill>
            <a:schemeClr val="accent5">
              <a:lumMod val="60000"/>
              <a:lumOff val="40000"/>
              <a:alpha val="16000"/>
            </a:schemeClr>
          </a:solidFill>
        </p:grpSpPr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xmlns="" id="{D29563EA-6113-45A5-8F00-1EC3C8E505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6" y="1871"/>
              <a:ext cx="599" cy="578"/>
            </a:xfrm>
            <a:custGeom>
              <a:avLst/>
              <a:gdLst>
                <a:gd name="T0" fmla="*/ 18 w 286"/>
                <a:gd name="T1" fmla="*/ 198 h 276"/>
                <a:gd name="T2" fmla="*/ 18 w 286"/>
                <a:gd name="T3" fmla="*/ 18 h 276"/>
                <a:gd name="T4" fmla="*/ 268 w 286"/>
                <a:gd name="T5" fmla="*/ 18 h 276"/>
                <a:gd name="T6" fmla="*/ 268 w 286"/>
                <a:gd name="T7" fmla="*/ 198 h 276"/>
                <a:gd name="T8" fmla="*/ 222 w 286"/>
                <a:gd name="T9" fmla="*/ 198 h 276"/>
                <a:gd name="T10" fmla="*/ 222 w 286"/>
                <a:gd name="T11" fmla="*/ 245 h 276"/>
                <a:gd name="T12" fmla="*/ 148 w 286"/>
                <a:gd name="T13" fmla="*/ 198 h 276"/>
                <a:gd name="T14" fmla="*/ 148 w 286"/>
                <a:gd name="T15" fmla="*/ 198 h 276"/>
                <a:gd name="T16" fmla="*/ 18 w 286"/>
                <a:gd name="T17" fmla="*/ 198 h 276"/>
                <a:gd name="T18" fmla="*/ 279 w 286"/>
                <a:gd name="T19" fmla="*/ 0 h 276"/>
                <a:gd name="T20" fmla="*/ 7 w 286"/>
                <a:gd name="T21" fmla="*/ 0 h 276"/>
                <a:gd name="T22" fmla="*/ 0 w 286"/>
                <a:gd name="T23" fmla="*/ 7 h 276"/>
                <a:gd name="T24" fmla="*/ 0 w 286"/>
                <a:gd name="T25" fmla="*/ 209 h 276"/>
                <a:gd name="T26" fmla="*/ 7 w 286"/>
                <a:gd name="T27" fmla="*/ 216 h 276"/>
                <a:gd name="T28" fmla="*/ 142 w 286"/>
                <a:gd name="T29" fmla="*/ 216 h 276"/>
                <a:gd name="T30" fmla="*/ 229 w 286"/>
                <a:gd name="T31" fmla="*/ 275 h 276"/>
                <a:gd name="T32" fmla="*/ 233 w 286"/>
                <a:gd name="T33" fmla="*/ 276 h 276"/>
                <a:gd name="T34" fmla="*/ 236 w 286"/>
                <a:gd name="T35" fmla="*/ 275 h 276"/>
                <a:gd name="T36" fmla="*/ 239 w 286"/>
                <a:gd name="T37" fmla="*/ 269 h 276"/>
                <a:gd name="T38" fmla="*/ 239 w 286"/>
                <a:gd name="T39" fmla="*/ 216 h 276"/>
                <a:gd name="T40" fmla="*/ 279 w 286"/>
                <a:gd name="T41" fmla="*/ 216 h 276"/>
                <a:gd name="T42" fmla="*/ 286 w 286"/>
                <a:gd name="T43" fmla="*/ 209 h 276"/>
                <a:gd name="T44" fmla="*/ 286 w 286"/>
                <a:gd name="T45" fmla="*/ 7 h 276"/>
                <a:gd name="T46" fmla="*/ 279 w 286"/>
                <a:gd name="T47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6" h="276">
                  <a:moveTo>
                    <a:pt x="18" y="198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268" y="18"/>
                    <a:pt x="268" y="18"/>
                    <a:pt x="268" y="18"/>
                  </a:cubicBezTo>
                  <a:cubicBezTo>
                    <a:pt x="268" y="198"/>
                    <a:pt x="268" y="198"/>
                    <a:pt x="268" y="198"/>
                  </a:cubicBezTo>
                  <a:cubicBezTo>
                    <a:pt x="222" y="198"/>
                    <a:pt x="222" y="198"/>
                    <a:pt x="222" y="198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8" y="198"/>
                    <a:pt x="18" y="198"/>
                    <a:pt x="18" y="198"/>
                  </a:cubicBezTo>
                  <a:moveTo>
                    <a:pt x="27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13"/>
                    <a:pt x="3" y="216"/>
                    <a:pt x="7" y="216"/>
                  </a:cubicBezTo>
                  <a:cubicBezTo>
                    <a:pt x="142" y="216"/>
                    <a:pt x="142" y="216"/>
                    <a:pt x="142" y="216"/>
                  </a:cubicBezTo>
                  <a:cubicBezTo>
                    <a:pt x="229" y="275"/>
                    <a:pt x="229" y="275"/>
                    <a:pt x="229" y="275"/>
                  </a:cubicBezTo>
                  <a:cubicBezTo>
                    <a:pt x="230" y="276"/>
                    <a:pt x="231" y="276"/>
                    <a:pt x="233" y="276"/>
                  </a:cubicBezTo>
                  <a:cubicBezTo>
                    <a:pt x="234" y="276"/>
                    <a:pt x="235" y="276"/>
                    <a:pt x="236" y="275"/>
                  </a:cubicBezTo>
                  <a:cubicBezTo>
                    <a:pt x="238" y="274"/>
                    <a:pt x="239" y="272"/>
                    <a:pt x="239" y="269"/>
                  </a:cubicBezTo>
                  <a:cubicBezTo>
                    <a:pt x="239" y="216"/>
                    <a:pt x="239" y="216"/>
                    <a:pt x="239" y="216"/>
                  </a:cubicBezTo>
                  <a:cubicBezTo>
                    <a:pt x="279" y="216"/>
                    <a:pt x="279" y="216"/>
                    <a:pt x="279" y="216"/>
                  </a:cubicBezTo>
                  <a:cubicBezTo>
                    <a:pt x="283" y="216"/>
                    <a:pt x="286" y="213"/>
                    <a:pt x="286" y="209"/>
                  </a:cubicBezTo>
                  <a:cubicBezTo>
                    <a:pt x="286" y="7"/>
                    <a:pt x="286" y="7"/>
                    <a:pt x="286" y="7"/>
                  </a:cubicBezTo>
                  <a:cubicBezTo>
                    <a:pt x="286" y="3"/>
                    <a:pt x="283" y="0"/>
                    <a:pt x="27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xmlns="" id="{464AF0F5-439F-458B-A582-891D725BB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2078"/>
              <a:ext cx="287" cy="178"/>
            </a:xfrm>
            <a:custGeom>
              <a:avLst/>
              <a:gdLst>
                <a:gd name="T0" fmla="*/ 44 w 137"/>
                <a:gd name="T1" fmla="*/ 0 h 85"/>
                <a:gd name="T2" fmla="*/ 39 w 137"/>
                <a:gd name="T3" fmla="*/ 2 h 85"/>
                <a:gd name="T4" fmla="*/ 3 w 137"/>
                <a:gd name="T5" fmla="*/ 38 h 85"/>
                <a:gd name="T6" fmla="*/ 3 w 137"/>
                <a:gd name="T7" fmla="*/ 47 h 85"/>
                <a:gd name="T8" fmla="*/ 39 w 137"/>
                <a:gd name="T9" fmla="*/ 83 h 85"/>
                <a:gd name="T10" fmla="*/ 44 w 137"/>
                <a:gd name="T11" fmla="*/ 85 h 85"/>
                <a:gd name="T12" fmla="*/ 48 w 137"/>
                <a:gd name="T13" fmla="*/ 83 h 85"/>
                <a:gd name="T14" fmla="*/ 51 w 137"/>
                <a:gd name="T15" fmla="*/ 81 h 85"/>
                <a:gd name="T16" fmla="*/ 51 w 137"/>
                <a:gd name="T17" fmla="*/ 72 h 85"/>
                <a:gd name="T18" fmla="*/ 30 w 137"/>
                <a:gd name="T19" fmla="*/ 51 h 85"/>
                <a:gd name="T20" fmla="*/ 131 w 137"/>
                <a:gd name="T21" fmla="*/ 51 h 85"/>
                <a:gd name="T22" fmla="*/ 137 w 137"/>
                <a:gd name="T23" fmla="*/ 45 h 85"/>
                <a:gd name="T24" fmla="*/ 137 w 137"/>
                <a:gd name="T25" fmla="*/ 41 h 85"/>
                <a:gd name="T26" fmla="*/ 131 w 137"/>
                <a:gd name="T27" fmla="*/ 34 h 85"/>
                <a:gd name="T28" fmla="*/ 30 w 137"/>
                <a:gd name="T29" fmla="*/ 34 h 85"/>
                <a:gd name="T30" fmla="*/ 51 w 137"/>
                <a:gd name="T31" fmla="*/ 13 h 85"/>
                <a:gd name="T32" fmla="*/ 51 w 137"/>
                <a:gd name="T33" fmla="*/ 5 h 85"/>
                <a:gd name="T34" fmla="*/ 48 w 137"/>
                <a:gd name="T35" fmla="*/ 2 h 85"/>
                <a:gd name="T36" fmla="*/ 44 w 137"/>
                <a:gd name="T3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7" h="85">
                  <a:moveTo>
                    <a:pt x="44" y="0"/>
                  </a:moveTo>
                  <a:cubicBezTo>
                    <a:pt x="42" y="0"/>
                    <a:pt x="40" y="0"/>
                    <a:pt x="39" y="2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0" y="41"/>
                    <a:pt x="0" y="45"/>
                    <a:pt x="3" y="47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40" y="85"/>
                    <a:pt x="42" y="85"/>
                    <a:pt x="44" y="85"/>
                  </a:cubicBezTo>
                  <a:cubicBezTo>
                    <a:pt x="45" y="85"/>
                    <a:pt x="47" y="85"/>
                    <a:pt x="48" y="83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3" y="78"/>
                    <a:pt x="53" y="74"/>
                    <a:pt x="51" y="7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34" y="51"/>
                    <a:pt x="137" y="48"/>
                    <a:pt x="137" y="45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37"/>
                    <a:pt x="134" y="34"/>
                    <a:pt x="131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53" y="11"/>
                    <a:pt x="53" y="7"/>
                    <a:pt x="51" y="5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7" y="0"/>
                    <a:pt x="45" y="0"/>
                    <a:pt x="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xmlns="" id="{BC97DD19-74AA-47ED-B1F0-BBD576CC3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1934"/>
              <a:ext cx="287" cy="178"/>
            </a:xfrm>
            <a:custGeom>
              <a:avLst/>
              <a:gdLst>
                <a:gd name="T0" fmla="*/ 93 w 137"/>
                <a:gd name="T1" fmla="*/ 0 h 85"/>
                <a:gd name="T2" fmla="*/ 89 w 137"/>
                <a:gd name="T3" fmla="*/ 1 h 85"/>
                <a:gd name="T4" fmla="*/ 86 w 137"/>
                <a:gd name="T5" fmla="*/ 4 h 85"/>
                <a:gd name="T6" fmla="*/ 86 w 137"/>
                <a:gd name="T7" fmla="*/ 13 h 85"/>
                <a:gd name="T8" fmla="*/ 107 w 137"/>
                <a:gd name="T9" fmla="*/ 34 h 85"/>
                <a:gd name="T10" fmla="*/ 6 w 137"/>
                <a:gd name="T11" fmla="*/ 34 h 85"/>
                <a:gd name="T12" fmla="*/ 0 w 137"/>
                <a:gd name="T13" fmla="*/ 40 h 85"/>
                <a:gd name="T14" fmla="*/ 0 w 137"/>
                <a:gd name="T15" fmla="*/ 44 h 85"/>
                <a:gd name="T16" fmla="*/ 6 w 137"/>
                <a:gd name="T17" fmla="*/ 51 h 85"/>
                <a:gd name="T18" fmla="*/ 107 w 137"/>
                <a:gd name="T19" fmla="*/ 51 h 85"/>
                <a:gd name="T20" fmla="*/ 86 w 137"/>
                <a:gd name="T21" fmla="*/ 72 h 85"/>
                <a:gd name="T22" fmla="*/ 86 w 137"/>
                <a:gd name="T23" fmla="*/ 80 h 85"/>
                <a:gd name="T24" fmla="*/ 89 w 137"/>
                <a:gd name="T25" fmla="*/ 83 h 85"/>
                <a:gd name="T26" fmla="*/ 93 w 137"/>
                <a:gd name="T27" fmla="*/ 85 h 85"/>
                <a:gd name="T28" fmla="*/ 98 w 137"/>
                <a:gd name="T29" fmla="*/ 83 h 85"/>
                <a:gd name="T30" fmla="*/ 134 w 137"/>
                <a:gd name="T31" fmla="*/ 47 h 85"/>
                <a:gd name="T32" fmla="*/ 134 w 137"/>
                <a:gd name="T33" fmla="*/ 38 h 85"/>
                <a:gd name="T34" fmla="*/ 98 w 137"/>
                <a:gd name="T35" fmla="*/ 1 h 85"/>
                <a:gd name="T36" fmla="*/ 93 w 137"/>
                <a:gd name="T3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7" h="85">
                  <a:moveTo>
                    <a:pt x="93" y="0"/>
                  </a:moveTo>
                  <a:cubicBezTo>
                    <a:pt x="92" y="0"/>
                    <a:pt x="90" y="0"/>
                    <a:pt x="89" y="1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4" y="7"/>
                    <a:pt x="84" y="11"/>
                    <a:pt x="86" y="13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3" y="34"/>
                    <a:pt x="0" y="37"/>
                    <a:pt x="0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8"/>
                    <a:pt x="3" y="51"/>
                    <a:pt x="6" y="51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4" y="74"/>
                    <a:pt x="84" y="78"/>
                    <a:pt x="86" y="80"/>
                  </a:cubicBezTo>
                  <a:cubicBezTo>
                    <a:pt x="89" y="83"/>
                    <a:pt x="89" y="83"/>
                    <a:pt x="89" y="83"/>
                  </a:cubicBezTo>
                  <a:cubicBezTo>
                    <a:pt x="90" y="84"/>
                    <a:pt x="92" y="85"/>
                    <a:pt x="93" y="85"/>
                  </a:cubicBezTo>
                  <a:cubicBezTo>
                    <a:pt x="95" y="85"/>
                    <a:pt x="97" y="84"/>
                    <a:pt x="98" y="83"/>
                  </a:cubicBezTo>
                  <a:cubicBezTo>
                    <a:pt x="134" y="47"/>
                    <a:pt x="134" y="47"/>
                    <a:pt x="134" y="47"/>
                  </a:cubicBezTo>
                  <a:cubicBezTo>
                    <a:pt x="137" y="44"/>
                    <a:pt x="137" y="40"/>
                    <a:pt x="134" y="38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7" y="0"/>
                    <a:pt x="95" y="0"/>
                    <a:pt x="9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2" name="Freeform 58">
            <a:extLst>
              <a:ext uri="{FF2B5EF4-FFF2-40B4-BE49-F238E27FC236}">
                <a16:creationId xmlns:a16="http://schemas.microsoft.com/office/drawing/2014/main" xmlns="" id="{FBFC50D0-32E7-441E-B34E-3E0B292680E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509858" y="3985857"/>
            <a:ext cx="1916113" cy="1831975"/>
          </a:xfrm>
          <a:custGeom>
            <a:avLst/>
            <a:gdLst>
              <a:gd name="T0" fmla="*/ 334 w 579"/>
              <a:gd name="T1" fmla="*/ 451 h 554"/>
              <a:gd name="T2" fmla="*/ 336 w 579"/>
              <a:gd name="T3" fmla="*/ 207 h 554"/>
              <a:gd name="T4" fmla="*/ 520 w 579"/>
              <a:gd name="T5" fmla="*/ 392 h 554"/>
              <a:gd name="T6" fmla="*/ 429 w 579"/>
              <a:gd name="T7" fmla="*/ 392 h 554"/>
              <a:gd name="T8" fmla="*/ 475 w 579"/>
              <a:gd name="T9" fmla="*/ 505 h 554"/>
              <a:gd name="T10" fmla="*/ 441 w 579"/>
              <a:gd name="T11" fmla="*/ 519 h 554"/>
              <a:gd name="T12" fmla="*/ 394 w 579"/>
              <a:gd name="T13" fmla="*/ 405 h 554"/>
              <a:gd name="T14" fmla="*/ 334 w 579"/>
              <a:gd name="T15" fmla="*/ 451 h 554"/>
              <a:gd name="T16" fmla="*/ 33 w 579"/>
              <a:gd name="T17" fmla="*/ 372 h 554"/>
              <a:gd name="T18" fmla="*/ 33 w 579"/>
              <a:gd name="T19" fmla="*/ 33 h 554"/>
              <a:gd name="T20" fmla="*/ 502 w 579"/>
              <a:gd name="T21" fmla="*/ 33 h 554"/>
              <a:gd name="T22" fmla="*/ 502 w 579"/>
              <a:gd name="T23" fmla="*/ 332 h 554"/>
              <a:gd name="T24" fmla="*/ 326 w 579"/>
              <a:gd name="T25" fmla="*/ 155 h 554"/>
              <a:gd name="T26" fmla="*/ 318 w 579"/>
              <a:gd name="T27" fmla="*/ 151 h 554"/>
              <a:gd name="T28" fmla="*/ 306 w 579"/>
              <a:gd name="T29" fmla="*/ 163 h 554"/>
              <a:gd name="T30" fmla="*/ 305 w 579"/>
              <a:gd name="T31" fmla="*/ 372 h 554"/>
              <a:gd name="T32" fmla="*/ 258 w 579"/>
              <a:gd name="T33" fmla="*/ 372 h 554"/>
              <a:gd name="T34" fmla="*/ 120 w 579"/>
              <a:gd name="T35" fmla="*/ 460 h 554"/>
              <a:gd name="T36" fmla="*/ 120 w 579"/>
              <a:gd name="T37" fmla="*/ 372 h 554"/>
              <a:gd name="T38" fmla="*/ 33 w 579"/>
              <a:gd name="T39" fmla="*/ 372 h 554"/>
              <a:gd name="T40" fmla="*/ 522 w 579"/>
              <a:gd name="T41" fmla="*/ 0 h 554"/>
              <a:gd name="T42" fmla="*/ 13 w 579"/>
              <a:gd name="T43" fmla="*/ 0 h 554"/>
              <a:gd name="T44" fmla="*/ 0 w 579"/>
              <a:gd name="T45" fmla="*/ 13 h 554"/>
              <a:gd name="T46" fmla="*/ 0 w 579"/>
              <a:gd name="T47" fmla="*/ 392 h 554"/>
              <a:gd name="T48" fmla="*/ 13 w 579"/>
              <a:gd name="T49" fmla="*/ 404 h 554"/>
              <a:gd name="T50" fmla="*/ 87 w 579"/>
              <a:gd name="T51" fmla="*/ 404 h 554"/>
              <a:gd name="T52" fmla="*/ 87 w 579"/>
              <a:gd name="T53" fmla="*/ 505 h 554"/>
              <a:gd name="T54" fmla="*/ 94 w 579"/>
              <a:gd name="T55" fmla="*/ 516 h 554"/>
              <a:gd name="T56" fmla="*/ 100 w 579"/>
              <a:gd name="T57" fmla="*/ 517 h 554"/>
              <a:gd name="T58" fmla="*/ 107 w 579"/>
              <a:gd name="T59" fmla="*/ 515 h 554"/>
              <a:gd name="T60" fmla="*/ 270 w 579"/>
              <a:gd name="T61" fmla="*/ 404 h 554"/>
              <a:gd name="T62" fmla="*/ 305 w 579"/>
              <a:gd name="T63" fmla="*/ 404 h 554"/>
              <a:gd name="T64" fmla="*/ 304 w 579"/>
              <a:gd name="T65" fmla="*/ 488 h 554"/>
              <a:gd name="T66" fmla="*/ 316 w 579"/>
              <a:gd name="T67" fmla="*/ 500 h 554"/>
              <a:gd name="T68" fmla="*/ 323 w 579"/>
              <a:gd name="T69" fmla="*/ 497 h 554"/>
              <a:gd name="T70" fmla="*/ 381 w 579"/>
              <a:gd name="T71" fmla="*/ 452 h 554"/>
              <a:gd name="T72" fmla="*/ 420 w 579"/>
              <a:gd name="T73" fmla="*/ 547 h 554"/>
              <a:gd name="T74" fmla="*/ 431 w 579"/>
              <a:gd name="T75" fmla="*/ 554 h 554"/>
              <a:gd name="T76" fmla="*/ 435 w 579"/>
              <a:gd name="T77" fmla="*/ 553 h 554"/>
              <a:gd name="T78" fmla="*/ 503 w 579"/>
              <a:gd name="T79" fmla="*/ 525 h 554"/>
              <a:gd name="T80" fmla="*/ 509 w 579"/>
              <a:gd name="T81" fmla="*/ 510 h 554"/>
              <a:gd name="T82" fmla="*/ 473 w 579"/>
              <a:gd name="T83" fmla="*/ 422 h 554"/>
              <a:gd name="T84" fmla="*/ 563 w 579"/>
              <a:gd name="T85" fmla="*/ 422 h 554"/>
              <a:gd name="T86" fmla="*/ 571 w 579"/>
              <a:gd name="T87" fmla="*/ 402 h 554"/>
              <a:gd name="T88" fmla="*/ 535 w 579"/>
              <a:gd name="T89" fmla="*/ 366 h 554"/>
              <a:gd name="T90" fmla="*/ 535 w 579"/>
              <a:gd name="T91" fmla="*/ 13 h 554"/>
              <a:gd name="T92" fmla="*/ 522 w 579"/>
              <a:gd name="T93" fmla="*/ 0 h 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554">
                <a:moveTo>
                  <a:pt x="334" y="451"/>
                </a:moveTo>
                <a:cubicBezTo>
                  <a:pt x="336" y="207"/>
                  <a:pt x="336" y="207"/>
                  <a:pt x="336" y="207"/>
                </a:cubicBezTo>
                <a:cubicBezTo>
                  <a:pt x="520" y="392"/>
                  <a:pt x="520" y="392"/>
                  <a:pt x="520" y="392"/>
                </a:cubicBezTo>
                <a:cubicBezTo>
                  <a:pt x="429" y="392"/>
                  <a:pt x="429" y="392"/>
                  <a:pt x="429" y="392"/>
                </a:cubicBezTo>
                <a:cubicBezTo>
                  <a:pt x="475" y="505"/>
                  <a:pt x="475" y="505"/>
                  <a:pt x="475" y="505"/>
                </a:cubicBezTo>
                <a:cubicBezTo>
                  <a:pt x="441" y="519"/>
                  <a:pt x="441" y="519"/>
                  <a:pt x="441" y="519"/>
                </a:cubicBezTo>
                <a:cubicBezTo>
                  <a:pt x="394" y="405"/>
                  <a:pt x="394" y="405"/>
                  <a:pt x="394" y="405"/>
                </a:cubicBezTo>
                <a:cubicBezTo>
                  <a:pt x="334" y="451"/>
                  <a:pt x="334" y="451"/>
                  <a:pt x="334" y="451"/>
                </a:cubicBezTo>
                <a:moveTo>
                  <a:pt x="33" y="372"/>
                </a:moveTo>
                <a:cubicBezTo>
                  <a:pt x="33" y="33"/>
                  <a:pt x="33" y="33"/>
                  <a:pt x="33" y="33"/>
                </a:cubicBezTo>
                <a:cubicBezTo>
                  <a:pt x="502" y="33"/>
                  <a:pt x="502" y="33"/>
                  <a:pt x="502" y="33"/>
                </a:cubicBezTo>
                <a:cubicBezTo>
                  <a:pt x="502" y="332"/>
                  <a:pt x="502" y="332"/>
                  <a:pt x="502" y="332"/>
                </a:cubicBezTo>
                <a:cubicBezTo>
                  <a:pt x="326" y="155"/>
                  <a:pt x="326" y="155"/>
                  <a:pt x="326" y="155"/>
                </a:cubicBezTo>
                <a:cubicBezTo>
                  <a:pt x="324" y="152"/>
                  <a:pt x="321" y="151"/>
                  <a:pt x="318" y="151"/>
                </a:cubicBezTo>
                <a:cubicBezTo>
                  <a:pt x="312" y="151"/>
                  <a:pt x="306" y="156"/>
                  <a:pt x="306" y="163"/>
                </a:cubicBezTo>
                <a:cubicBezTo>
                  <a:pt x="305" y="372"/>
                  <a:pt x="305" y="372"/>
                  <a:pt x="305" y="372"/>
                </a:cubicBezTo>
                <a:cubicBezTo>
                  <a:pt x="258" y="372"/>
                  <a:pt x="258" y="372"/>
                  <a:pt x="258" y="372"/>
                </a:cubicBezTo>
                <a:cubicBezTo>
                  <a:pt x="120" y="460"/>
                  <a:pt x="120" y="460"/>
                  <a:pt x="120" y="460"/>
                </a:cubicBezTo>
                <a:cubicBezTo>
                  <a:pt x="120" y="372"/>
                  <a:pt x="120" y="372"/>
                  <a:pt x="120" y="372"/>
                </a:cubicBezTo>
                <a:cubicBezTo>
                  <a:pt x="33" y="372"/>
                  <a:pt x="33" y="372"/>
                  <a:pt x="33" y="372"/>
                </a:cubicBezTo>
                <a:moveTo>
                  <a:pt x="522" y="0"/>
                </a:moveTo>
                <a:cubicBezTo>
                  <a:pt x="13" y="0"/>
                  <a:pt x="13" y="0"/>
                  <a:pt x="13" y="0"/>
                </a:cubicBezTo>
                <a:cubicBezTo>
                  <a:pt x="6" y="0"/>
                  <a:pt x="0" y="6"/>
                  <a:pt x="0" y="13"/>
                </a:cubicBezTo>
                <a:cubicBezTo>
                  <a:pt x="0" y="392"/>
                  <a:pt x="0" y="392"/>
                  <a:pt x="0" y="392"/>
                </a:cubicBezTo>
                <a:cubicBezTo>
                  <a:pt x="0" y="399"/>
                  <a:pt x="6" y="404"/>
                  <a:pt x="13" y="404"/>
                </a:cubicBezTo>
                <a:cubicBezTo>
                  <a:pt x="87" y="404"/>
                  <a:pt x="87" y="404"/>
                  <a:pt x="87" y="404"/>
                </a:cubicBezTo>
                <a:cubicBezTo>
                  <a:pt x="87" y="505"/>
                  <a:pt x="87" y="505"/>
                  <a:pt x="87" y="505"/>
                </a:cubicBezTo>
                <a:cubicBezTo>
                  <a:pt x="87" y="509"/>
                  <a:pt x="90" y="514"/>
                  <a:pt x="94" y="516"/>
                </a:cubicBezTo>
                <a:cubicBezTo>
                  <a:pt x="96" y="517"/>
                  <a:pt x="98" y="517"/>
                  <a:pt x="100" y="517"/>
                </a:cubicBezTo>
                <a:cubicBezTo>
                  <a:pt x="102" y="517"/>
                  <a:pt x="105" y="517"/>
                  <a:pt x="107" y="515"/>
                </a:cubicBezTo>
                <a:cubicBezTo>
                  <a:pt x="270" y="404"/>
                  <a:pt x="270" y="404"/>
                  <a:pt x="270" y="404"/>
                </a:cubicBezTo>
                <a:cubicBezTo>
                  <a:pt x="305" y="404"/>
                  <a:pt x="305" y="404"/>
                  <a:pt x="305" y="404"/>
                </a:cubicBezTo>
                <a:cubicBezTo>
                  <a:pt x="304" y="488"/>
                  <a:pt x="304" y="488"/>
                  <a:pt x="304" y="488"/>
                </a:cubicBezTo>
                <a:cubicBezTo>
                  <a:pt x="304" y="495"/>
                  <a:pt x="310" y="500"/>
                  <a:pt x="316" y="500"/>
                </a:cubicBezTo>
                <a:cubicBezTo>
                  <a:pt x="318" y="500"/>
                  <a:pt x="321" y="499"/>
                  <a:pt x="323" y="497"/>
                </a:cubicBezTo>
                <a:cubicBezTo>
                  <a:pt x="381" y="452"/>
                  <a:pt x="381" y="452"/>
                  <a:pt x="381" y="452"/>
                </a:cubicBezTo>
                <a:cubicBezTo>
                  <a:pt x="420" y="547"/>
                  <a:pt x="420" y="547"/>
                  <a:pt x="420" y="547"/>
                </a:cubicBezTo>
                <a:cubicBezTo>
                  <a:pt x="422" y="551"/>
                  <a:pt x="426" y="554"/>
                  <a:pt x="431" y="554"/>
                </a:cubicBezTo>
                <a:cubicBezTo>
                  <a:pt x="432" y="554"/>
                  <a:pt x="434" y="554"/>
                  <a:pt x="435" y="553"/>
                </a:cubicBezTo>
                <a:cubicBezTo>
                  <a:pt x="503" y="525"/>
                  <a:pt x="503" y="525"/>
                  <a:pt x="503" y="525"/>
                </a:cubicBezTo>
                <a:cubicBezTo>
                  <a:pt x="509" y="523"/>
                  <a:pt x="512" y="516"/>
                  <a:pt x="509" y="510"/>
                </a:cubicBezTo>
                <a:cubicBezTo>
                  <a:pt x="473" y="422"/>
                  <a:pt x="473" y="422"/>
                  <a:pt x="473" y="422"/>
                </a:cubicBezTo>
                <a:cubicBezTo>
                  <a:pt x="563" y="422"/>
                  <a:pt x="563" y="422"/>
                  <a:pt x="563" y="422"/>
                </a:cubicBezTo>
                <a:cubicBezTo>
                  <a:pt x="574" y="422"/>
                  <a:pt x="579" y="410"/>
                  <a:pt x="571" y="402"/>
                </a:cubicBezTo>
                <a:cubicBezTo>
                  <a:pt x="535" y="366"/>
                  <a:pt x="535" y="366"/>
                  <a:pt x="535" y="366"/>
                </a:cubicBezTo>
                <a:cubicBezTo>
                  <a:pt x="535" y="13"/>
                  <a:pt x="535" y="13"/>
                  <a:pt x="535" y="13"/>
                </a:cubicBezTo>
                <a:cubicBezTo>
                  <a:pt x="535" y="6"/>
                  <a:pt x="529" y="0"/>
                  <a:pt x="522" y="0"/>
                </a:cubicBezTo>
              </a:path>
            </a:pathLst>
          </a:custGeom>
          <a:solidFill>
            <a:schemeClr val="accent5">
              <a:lumMod val="60000"/>
              <a:lumOff val="40000"/>
              <a:alpha val="16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086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0C756E6B-FEBC-47B0-B117-561D240B9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00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2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43948303-9024-4C27-9841-A947A2E69D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xmlns="" id="{2117B322-29F4-47B2-9028-7345FCDA00A7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C6303CE-314A-411B-9238-8A0E56C1A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AF05D01A-C86A-4F01-803E-5EA1A23B0C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xmlns="" id="{DDE474F1-D872-4857-8306-4A63BC015D05}"/>
              </a:ext>
            </a:extLst>
          </p:cNvPr>
          <p:cNvGrpSpPr/>
          <p:nvPr userDrawn="1"/>
        </p:nvGrpSpPr>
        <p:grpSpPr>
          <a:xfrm>
            <a:off x="10163610" y="255757"/>
            <a:ext cx="1648228" cy="487014"/>
            <a:chOff x="10163610" y="1419508"/>
            <a:chExt cx="1648228" cy="487014"/>
          </a:xfrm>
          <a:solidFill>
            <a:schemeClr val="bg1"/>
          </a:solidFill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xmlns="" id="{039F7D20-9EC1-45ED-860E-F434A5E381A0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2BB300A8-5193-494E-9EE4-CB6E98694EBC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C7A20857-A990-485B-80E6-43AA4AE5047C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5F66F747-10E9-4BCF-825C-4A159F63DEB9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907A9FA6-2293-4D29-A262-324415B10AD8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48B530C5-C386-4A4E-9CE1-6B51D4B9C51C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xmlns="" id="{7BC646BA-3478-4ACD-A241-A2302A97BDC4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xmlns="" id="{1D2CD7D7-4039-4331-86E1-70561A7C1E7A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xmlns="" id="{785E4323-58EE-4277-B20D-1D29E8F59AF6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xmlns="" id="{7C661941-488A-4C28-A725-F47E963EE6C4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xmlns="" id="{3C7CA3B0-0DC0-4BD3-934D-3635AB31BED8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xmlns="" id="{49CE791F-6C86-4BEA-98BF-CB19BAC6F337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xmlns="" id="{0074B69E-BAB9-4C27-B09E-B2E7B6C8BE0A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4" name="Inhaltsplatzhalter 33">
            <a:extLst>
              <a:ext uri="{FF2B5EF4-FFF2-40B4-BE49-F238E27FC236}">
                <a16:creationId xmlns:a16="http://schemas.microsoft.com/office/drawing/2014/main" xmlns="" id="{468F6954-76BD-46A2-9F89-093AC238B66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773238"/>
            <a:ext cx="11449050" cy="420687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5" name="Datumsplatzhalter 34">
            <a:extLst>
              <a:ext uri="{FF2B5EF4-FFF2-40B4-BE49-F238E27FC236}">
                <a16:creationId xmlns:a16="http://schemas.microsoft.com/office/drawing/2014/main" xmlns="" id="{1F318319-7880-4484-97D0-FB39D5C6F46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273E25F-A34D-46B4-9AF3-1F5765F7CA1F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36" name="Foliennummernplatzhalter 35">
            <a:extLst>
              <a:ext uri="{FF2B5EF4-FFF2-40B4-BE49-F238E27FC236}">
                <a16:creationId xmlns:a16="http://schemas.microsoft.com/office/drawing/2014/main" xmlns="" id="{12A2DC80-D46A-4DE0-A479-99F5919CBA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323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2 Inhalte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0C756E6B-FEBC-47B0-B117-561D240B9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852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6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0C756E6B-FEBC-47B0-B117-561D240B90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43948303-9024-4C27-9841-A947A2E69D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xmlns="" id="{2117B322-29F4-47B2-9028-7345FCDA00A7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C6303CE-314A-411B-9238-8A0E56C1A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AF05D01A-C86A-4F01-803E-5EA1A23B0C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xmlns="" id="{DDE474F1-D872-4857-8306-4A63BC015D05}"/>
              </a:ext>
            </a:extLst>
          </p:cNvPr>
          <p:cNvGrpSpPr/>
          <p:nvPr userDrawn="1"/>
        </p:nvGrpSpPr>
        <p:grpSpPr>
          <a:xfrm>
            <a:off x="10163610" y="255757"/>
            <a:ext cx="1648228" cy="487014"/>
            <a:chOff x="10163610" y="1419508"/>
            <a:chExt cx="1648228" cy="487014"/>
          </a:xfrm>
          <a:solidFill>
            <a:schemeClr val="bg1"/>
          </a:solidFill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xmlns="" id="{039F7D20-9EC1-45ED-860E-F434A5E381A0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2BB300A8-5193-494E-9EE4-CB6E98694EBC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C7A20857-A990-485B-80E6-43AA4AE5047C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5F66F747-10E9-4BCF-825C-4A159F63DEB9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907A9FA6-2293-4D29-A262-324415B10AD8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48B530C5-C386-4A4E-9CE1-6B51D4B9C51C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xmlns="" id="{7BC646BA-3478-4ACD-A241-A2302A97BDC4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xmlns="" id="{1D2CD7D7-4039-4331-86E1-70561A7C1E7A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xmlns="" id="{785E4323-58EE-4277-B20D-1D29E8F59AF6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xmlns="" id="{7C661941-488A-4C28-A725-F47E963EE6C4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xmlns="" id="{3C7CA3B0-0DC0-4BD3-934D-3635AB31BED8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xmlns="" id="{49CE791F-6C86-4BEA-98BF-CB19BAC6F337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xmlns="" id="{0074B69E-BAB9-4C27-B09E-B2E7B6C8BE0A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4" name="Inhaltsplatzhalter 33">
            <a:extLst>
              <a:ext uri="{FF2B5EF4-FFF2-40B4-BE49-F238E27FC236}">
                <a16:creationId xmlns:a16="http://schemas.microsoft.com/office/drawing/2014/main" xmlns="" id="{468F6954-76BD-46A2-9F89-093AC238B66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773238"/>
            <a:ext cx="5616575" cy="420687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3" name="Inhaltsplatzhalter 33">
            <a:extLst>
              <a:ext uri="{FF2B5EF4-FFF2-40B4-BE49-F238E27FC236}">
                <a16:creationId xmlns:a16="http://schemas.microsoft.com/office/drawing/2014/main" xmlns="" id="{78B517BB-ACAB-4537-873A-AFD15D990E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04012" y="1773238"/>
            <a:ext cx="5616575" cy="420687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xmlns="" id="{66AA8549-88C5-44AA-93C3-158072757D0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8BFD3D6-9E2C-4723-86AA-DC34129368A2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xmlns="" id="{73325496-488E-4B7A-99F1-61A4EF00E2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069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&amp; Aussage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B2CB10EC-48B3-4604-AB88-4FE972444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578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23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F8FB1C59-FB45-413F-9BAD-28E82B2529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xmlns="" id="{F0B5A3E8-B77F-4AB0-A4A1-3F9763B00476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C6303CE-314A-411B-9238-8A0E56C1A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xmlns="" id="{43E95932-5712-4CD4-9267-16B8B1B12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xmlns="" id="{3001320D-88DE-4247-843F-DF9D2837DFCF}"/>
              </a:ext>
            </a:extLst>
          </p:cNvPr>
          <p:cNvGrpSpPr/>
          <p:nvPr userDrawn="1"/>
        </p:nvGrpSpPr>
        <p:grpSpPr>
          <a:xfrm>
            <a:off x="10163610" y="255757"/>
            <a:ext cx="1648228" cy="487014"/>
            <a:chOff x="10163610" y="1419508"/>
            <a:chExt cx="1648228" cy="487014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xmlns="" id="{EFEB7455-A397-4D62-9234-03DD0D7B4499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xmlns="" id="{175BD98D-6711-4D57-B59C-1BFCB110FA6A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xmlns="" id="{1266D40E-C3E6-4552-8737-A93F0B6ADB16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xmlns="" id="{621A7E1D-FF13-425F-8D05-5388C5662DAC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701D5B24-BE6E-4C53-8809-45E68C850AC2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3CFCC6D0-DBF1-4F3B-8975-B4855A7BADB5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26D7D623-2B06-48D5-A31F-3122D59766B2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93AB1F59-1538-417C-9C77-AE2DDD89963A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42805CE1-DC46-4DD9-B06D-C7918902367A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xmlns="" id="{1D06D674-BCD0-4461-A5D9-07F82AEA0B83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xmlns="" id="{DABCC8CC-E6DB-4E50-8A18-8B414F5A36E6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xmlns="" id="{E57D0F40-69A8-478B-99D4-AB4EB37F4CFF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xmlns="" id="{EAE673E0-365C-42EE-9E79-7FB1612B2CB7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" name="Datumsplatzhalter 6">
            <a:extLst>
              <a:ext uri="{FF2B5EF4-FFF2-40B4-BE49-F238E27FC236}">
                <a16:creationId xmlns:a16="http://schemas.microsoft.com/office/drawing/2014/main" xmlns="" id="{EEC19D7F-1AA2-4907-83C1-654B772A4EE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790D712-476E-45AB-8A67-DDDE17F7B3D2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xmlns="" id="{385AF8FC-FDC6-4ECD-AA7F-1ABC68EB7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29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A6279A45-C144-45AA-AFC0-16919BE664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020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6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149689FD-CB37-4C07-8634-9529E85D00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04E8D943-6287-4E52-B0B7-F576F6521671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C6303CE-314A-411B-9238-8A0E56C1A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xmlns="" id="{D13C9D5D-6CB3-49F9-B5C3-48F08A6FFD52}"/>
              </a:ext>
            </a:extLst>
          </p:cNvPr>
          <p:cNvGrpSpPr/>
          <p:nvPr userDrawn="1"/>
        </p:nvGrpSpPr>
        <p:grpSpPr>
          <a:xfrm>
            <a:off x="10163610" y="255757"/>
            <a:ext cx="1648228" cy="487014"/>
            <a:chOff x="10163610" y="1419508"/>
            <a:chExt cx="1648228" cy="487014"/>
          </a:xfrm>
          <a:solidFill>
            <a:schemeClr val="bg1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40314E6E-2664-4C27-AA7A-E1345FA96EDE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1CE6AFBE-29C4-45A1-AEE7-BED01D37C0D6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xmlns="" id="{6E151787-93FD-4385-92F1-A14000F450A0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xmlns="" id="{FDF20805-C25D-476A-A0AF-995349E58B56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xmlns="" id="{0C725740-8C7B-4970-B37B-D9B7644112A3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xmlns="" id="{7FB6AE41-B1A7-4F09-9E5F-AA4FBDEFD014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CDFD32BD-43D8-4A2E-8E9F-4487F8D07C98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858670E5-4183-449D-8FD8-F1B89C71F84C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D9DEF477-DE0C-4DE9-9500-81C0A5431B15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F0391756-E845-442A-A57D-CA368A969715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68FBCA76-D301-4081-9B0F-325421DA0EEB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xmlns="" id="{54A3D10D-AF6E-417F-8B68-661A7161594D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xmlns="" id="{DDE65D20-54EA-4090-9362-18ED16C0A905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" name="Datumsplatzhalter 6">
            <a:extLst>
              <a:ext uri="{FF2B5EF4-FFF2-40B4-BE49-F238E27FC236}">
                <a16:creationId xmlns:a16="http://schemas.microsoft.com/office/drawing/2014/main" xmlns="" id="{F04C49CE-A441-4C39-A108-D1649C91E3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ED537-0BDB-43DD-AF09-948A228E0476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xmlns="" id="{98A7204F-7B7F-45FB-9C73-2057AD568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2686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E384B325-25C9-4A15-9A5E-21FD2854A7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438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39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ihandform: Form 5">
            <a:extLst>
              <a:ext uri="{FF2B5EF4-FFF2-40B4-BE49-F238E27FC236}">
                <a16:creationId xmlns:a16="http://schemas.microsoft.com/office/drawing/2014/main" xmlns="" id="{387B28E1-AB55-40FA-8A8F-122B208641DB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xmlns="" id="{FCB5B7DE-D0A1-4A17-A499-19D818C19C86}"/>
              </a:ext>
            </a:extLst>
          </p:cNvPr>
          <p:cNvGrpSpPr/>
          <p:nvPr userDrawn="1"/>
        </p:nvGrpSpPr>
        <p:grpSpPr>
          <a:xfrm>
            <a:off x="10163610" y="255757"/>
            <a:ext cx="1648228" cy="487014"/>
            <a:chOff x="10163610" y="1419508"/>
            <a:chExt cx="1648228" cy="48701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A5FE0AF5-4255-4BC0-BA4E-4F35DD392849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xmlns="" id="{E01AB820-F43F-4EA0-9AC2-347FB246A9DC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BEEB811B-5720-44A6-A0EA-4F9C4A76455C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9819916D-E425-490C-AB0A-3CDBCDB1917B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xmlns="" id="{FBCC25E0-C65F-4C6B-AAD9-07DF5ECF643F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xmlns="" id="{212D9D66-706E-4028-AAA9-4DD15AFEB00B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xmlns="" id="{B102C071-1DBE-42AA-92C7-1C4D0EE924BC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xmlns="" id="{4A63FD5B-0F46-4565-8713-A1616220C024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AF5E49AA-EFDD-4E0D-9BCD-13E0E73E5142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902D6068-91F3-4B8D-96DE-A21CECC5D6F7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ACA77BEB-B998-4810-9172-7D29F9403611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63D94549-7A6A-4665-BBD4-AF5F61A936E7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DD91FB0B-6E75-44B4-982B-0DF60E04CFCA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CCBE3B01-FADC-4C24-B62B-759514553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1A547-0216-4BE9-8461-A237C66C9CCE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C58BFDEA-4179-4CEA-A8DA-45383A082D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513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0C756E6B-FEBC-47B0-B117-561D240B9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7085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76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0C756E6B-FEBC-47B0-B117-561D240B90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43948303-9024-4C27-9841-A947A2E69D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xmlns="" id="{2117B322-29F4-47B2-9028-7345FCDA00A7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C6303CE-314A-411B-9238-8A0E56C1A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AF05D01A-C86A-4F01-803E-5EA1A23B0C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xmlns="" id="{DDE474F1-D872-4857-8306-4A63BC015D05}"/>
              </a:ext>
            </a:extLst>
          </p:cNvPr>
          <p:cNvGrpSpPr/>
          <p:nvPr userDrawn="1"/>
        </p:nvGrpSpPr>
        <p:grpSpPr>
          <a:xfrm>
            <a:off x="10163610" y="255757"/>
            <a:ext cx="1648228" cy="487014"/>
            <a:chOff x="10163610" y="1419508"/>
            <a:chExt cx="1648228" cy="487014"/>
          </a:xfrm>
          <a:solidFill>
            <a:schemeClr val="bg1"/>
          </a:solidFill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xmlns="" id="{039F7D20-9EC1-45ED-860E-F434A5E381A0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2BB300A8-5193-494E-9EE4-CB6E98694EBC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C7A20857-A990-485B-80E6-43AA4AE5047C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5F66F747-10E9-4BCF-825C-4A159F63DEB9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907A9FA6-2293-4D29-A262-324415B10AD8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48B530C5-C386-4A4E-9CE1-6B51D4B9C51C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xmlns="" id="{7BC646BA-3478-4ACD-A241-A2302A97BDC4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xmlns="" id="{1D2CD7D7-4039-4331-86E1-70561A7C1E7A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xmlns="" id="{785E4323-58EE-4277-B20D-1D29E8F59AF6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xmlns="" id="{7C661941-488A-4C28-A725-F47E963EE6C4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xmlns="" id="{3C7CA3B0-0DC0-4BD3-934D-3635AB31BED8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xmlns="" id="{49CE791F-6C86-4BEA-98BF-CB19BAC6F337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xmlns="" id="{0074B69E-BAB9-4C27-B09E-B2E7B6C8BE0A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xmlns="" id="{66AA8549-88C5-44AA-93C3-158072757D0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9827E37-146B-4B7E-8C1A-ADC572944DFC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xmlns="" id="{73325496-488E-4B7A-99F1-61A4EF00E2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5" name="Inhaltsplatzhalter 3">
            <a:extLst>
              <a:ext uri="{FF2B5EF4-FFF2-40B4-BE49-F238E27FC236}">
                <a16:creationId xmlns:a16="http://schemas.microsoft.com/office/drawing/2014/main" xmlns="" id="{6624501E-D78D-4241-9A16-738511ABF6D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364" y="2420908"/>
            <a:ext cx="5616000" cy="3528000"/>
          </a:xfrm>
          <a:solidFill>
            <a:schemeClr val="bg1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 sz="1400"/>
            </a:lvl2pPr>
            <a:lvl3pPr>
              <a:defRPr/>
            </a:lvl3pPr>
            <a:lvl4pPr>
              <a:defRPr sz="1200"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6" name="Inhaltsplatzhalter 5">
            <a:extLst>
              <a:ext uri="{FF2B5EF4-FFF2-40B4-BE49-F238E27FC236}">
                <a16:creationId xmlns:a16="http://schemas.microsoft.com/office/drawing/2014/main" xmlns="" id="{2FBF610B-E006-4BA9-9314-1C74FA223A3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04636" y="2420908"/>
            <a:ext cx="5616000" cy="3528000"/>
          </a:xfrm>
          <a:solidFill>
            <a:schemeClr val="bg1"/>
          </a:solidFill>
          <a:ln>
            <a:noFill/>
          </a:ln>
        </p:spPr>
        <p:txBody>
          <a:bodyPr lIns="144000" tIns="144000" rIns="144000" bIns="144000"/>
          <a:lstStyle>
            <a:lvl1pPr>
              <a:defRPr/>
            </a:lvl1pPr>
            <a:lvl2pPr>
              <a:defRPr sz="1400"/>
            </a:lvl2pPr>
            <a:lvl3pPr>
              <a:defRPr/>
            </a:lvl3pPr>
            <a:lvl4pPr>
              <a:defRPr sz="1200"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xmlns="" id="{1C8F285E-942D-4B33-B521-8D8F7B11A8F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364" y="1772908"/>
            <a:ext cx="5616000" cy="648000"/>
          </a:xfrm>
          <a:solidFill>
            <a:schemeClr val="accent2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xmlns="" id="{03F86912-8F51-4FE5-9D4B-FFDD3912EB0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04012" y="1772908"/>
            <a:ext cx="5616000" cy="648000"/>
          </a:xfrm>
          <a:solidFill>
            <a:schemeClr val="accent2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279041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16EAB081-214C-45E8-979E-1E0325F16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4835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0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A0C857A2-287C-4EEA-890A-FF69C81FEB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000" b="1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xmlns="" id="{03C16230-F411-4223-8D29-019465434FE1}"/>
              </a:ext>
            </a:extLst>
          </p:cNvPr>
          <p:cNvSpPr/>
          <p:nvPr userDrawn="1"/>
        </p:nvSpPr>
        <p:spPr>
          <a:xfrm>
            <a:off x="5771964" y="0"/>
            <a:ext cx="6420036" cy="6858000"/>
          </a:xfrm>
          <a:custGeom>
            <a:avLst/>
            <a:gdLst>
              <a:gd name="connsiteX0" fmla="*/ 0 w 6420036"/>
              <a:gd name="connsiteY0" fmla="*/ 0 h 6858000"/>
              <a:gd name="connsiteX1" fmla="*/ 6420036 w 6420036"/>
              <a:gd name="connsiteY1" fmla="*/ 0 h 6858000"/>
              <a:gd name="connsiteX2" fmla="*/ 6420036 w 6420036"/>
              <a:gd name="connsiteY2" fmla="*/ 6858000 h 6858000"/>
              <a:gd name="connsiteX3" fmla="*/ 0 w 6420036"/>
              <a:gd name="connsiteY3" fmla="*/ 6858000 h 6858000"/>
              <a:gd name="connsiteX4" fmla="*/ 0 w 6420036"/>
              <a:gd name="connsiteY4" fmla="*/ 0 h 6858000"/>
              <a:gd name="connsiteX0" fmla="*/ 2456121 w 6420036"/>
              <a:gd name="connsiteY0" fmla="*/ 0 h 6858000"/>
              <a:gd name="connsiteX1" fmla="*/ 6420036 w 6420036"/>
              <a:gd name="connsiteY1" fmla="*/ 0 h 6858000"/>
              <a:gd name="connsiteX2" fmla="*/ 6420036 w 6420036"/>
              <a:gd name="connsiteY2" fmla="*/ 6858000 h 6858000"/>
              <a:gd name="connsiteX3" fmla="*/ 0 w 6420036"/>
              <a:gd name="connsiteY3" fmla="*/ 6858000 h 6858000"/>
              <a:gd name="connsiteX4" fmla="*/ 2456121 w 6420036"/>
              <a:gd name="connsiteY4" fmla="*/ 0 h 6858000"/>
              <a:gd name="connsiteX0" fmla="*/ 1552353 w 6420036"/>
              <a:gd name="connsiteY0" fmla="*/ 0 h 6858000"/>
              <a:gd name="connsiteX1" fmla="*/ 6420036 w 6420036"/>
              <a:gd name="connsiteY1" fmla="*/ 0 h 6858000"/>
              <a:gd name="connsiteX2" fmla="*/ 6420036 w 6420036"/>
              <a:gd name="connsiteY2" fmla="*/ 6858000 h 6858000"/>
              <a:gd name="connsiteX3" fmla="*/ 0 w 6420036"/>
              <a:gd name="connsiteY3" fmla="*/ 6858000 h 6858000"/>
              <a:gd name="connsiteX4" fmla="*/ 1552353 w 642003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20036" h="6858000">
                <a:moveTo>
                  <a:pt x="1552353" y="0"/>
                </a:moveTo>
                <a:lnTo>
                  <a:pt x="6420036" y="0"/>
                </a:lnTo>
                <a:lnTo>
                  <a:pt x="6420036" y="6858000"/>
                </a:lnTo>
                <a:lnTo>
                  <a:pt x="0" y="6858000"/>
                </a:lnTo>
                <a:lnTo>
                  <a:pt x="1552353" y="0"/>
                </a:lnTo>
                <a:close/>
              </a:path>
            </a:pathLst>
          </a:custGeom>
          <a:gradFill>
            <a:gsLst>
              <a:gs pos="0">
                <a:srgbClr val="DCDCDC"/>
              </a:gs>
              <a:gs pos="70000">
                <a:srgbClr val="F3F3F3"/>
              </a:gs>
              <a:gs pos="37000">
                <a:srgbClr val="E9E9E9"/>
              </a:gs>
              <a:gs pos="100000">
                <a:srgbClr val="F6F6F6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8E19D507-6F75-42F0-A5E3-330B30520F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20136" y="1808820"/>
            <a:ext cx="4500389" cy="1620180"/>
          </a:xfrm>
        </p:spPr>
        <p:txBody>
          <a:bodyPr anchor="t">
            <a:noAutofit/>
          </a:bodyPr>
          <a:lstStyle>
            <a:lvl1pPr algn="l">
              <a:defRPr sz="30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in maximal vier Zeilen</a:t>
            </a: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xmlns="" id="{66E3596D-31AE-41A6-A284-F6FB7F342A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7324317" cy="6858000"/>
          </a:xfrm>
          <a:custGeom>
            <a:avLst/>
            <a:gdLst>
              <a:gd name="connsiteX0" fmla="*/ 0 w 7324317"/>
              <a:gd name="connsiteY0" fmla="*/ 0 h 6858000"/>
              <a:gd name="connsiteX1" fmla="*/ 7324317 w 7324317"/>
              <a:gd name="connsiteY1" fmla="*/ 0 h 6858000"/>
              <a:gd name="connsiteX2" fmla="*/ 5771964 w 7324317"/>
              <a:gd name="connsiteY2" fmla="*/ 6858000 h 6858000"/>
              <a:gd name="connsiteX3" fmla="*/ 0 w 73243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24317" h="6858000">
                <a:moveTo>
                  <a:pt x="0" y="0"/>
                </a:moveTo>
                <a:lnTo>
                  <a:pt x="7324317" y="0"/>
                </a:lnTo>
                <a:lnTo>
                  <a:pt x="577196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xmlns="" id="{8BEAA54F-1937-485F-8C39-8B183772B4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33648" y="4770046"/>
            <a:ext cx="4032448" cy="276999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 dirty="0"/>
              <a:t>Ort, Datum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xmlns="" id="{158AA9BA-5B94-4E5E-B17C-D472806DE13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49411" y="255757"/>
            <a:ext cx="2071225" cy="612000"/>
            <a:chOff x="10163610" y="1419508"/>
            <a:chExt cx="1648228" cy="487014"/>
          </a:xfrm>
        </p:grpSpPr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xmlns="" id="{C47B0C91-C8DF-402C-91A4-761AC81F1923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xmlns="" id="{DD7C5992-4E95-4E35-A7D0-B19AB3368FF9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xmlns="" id="{6BA0073F-6BD7-43E0-A926-9402E022715B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xmlns="" id="{423A40E3-B333-4E84-822B-78A2BC35CEC3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xmlns="" id="{DC930B26-998F-4116-9268-774E46CF2F17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xmlns="" id="{4204E9AD-83E5-4C5B-8F1A-1230039821C5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xmlns="" id="{2231AD74-8ECC-4F07-BFF4-FFE5A37534BE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37000">
                  <a:schemeClr val="accent3"/>
                </a:gs>
                <a:gs pos="100000">
                  <a:schemeClr val="accent2"/>
                </a:gs>
              </a:gsLst>
              <a:lin ang="18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xmlns="" id="{2596FC14-AEA7-4BA4-B5FC-616751DCEC33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xmlns="" id="{56E6B105-3625-4CA3-B6EB-A4BE0EE67D71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xmlns="" id="{A69AB8D5-6720-43DB-906A-0B9434A86712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xmlns="" id="{342AE38F-4337-4E37-A9A6-800A197C57D1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xmlns="" id="{CADF959F-0EEC-4E49-8C95-1F435CD6DB3A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xmlns="" id="{F3CA17D7-9F8E-47D9-AD29-6639E014ADAA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674487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reit grau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95D993F8-C730-4D94-8D72-2D80218C4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52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2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907B262A-7DDB-4BFC-ABF1-4CC2ED3BC8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3000" b="1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33" name="Rechteck 14">
            <a:extLst>
              <a:ext uri="{FF2B5EF4-FFF2-40B4-BE49-F238E27FC236}">
                <a16:creationId xmlns:a16="http://schemas.microsoft.com/office/drawing/2014/main" xmlns="" id="{5BC81172-67AF-44B6-90F5-9C62C9A8326E}"/>
              </a:ext>
            </a:extLst>
          </p:cNvPr>
          <p:cNvSpPr/>
          <p:nvPr userDrawn="1"/>
        </p:nvSpPr>
        <p:spPr>
          <a:xfrm>
            <a:off x="4345018" y="0"/>
            <a:ext cx="7859014" cy="6942222"/>
          </a:xfrm>
          <a:custGeom>
            <a:avLst/>
            <a:gdLst>
              <a:gd name="connsiteX0" fmla="*/ 0 w 6420036"/>
              <a:gd name="connsiteY0" fmla="*/ 0 h 6858000"/>
              <a:gd name="connsiteX1" fmla="*/ 6420036 w 6420036"/>
              <a:gd name="connsiteY1" fmla="*/ 0 h 6858000"/>
              <a:gd name="connsiteX2" fmla="*/ 6420036 w 6420036"/>
              <a:gd name="connsiteY2" fmla="*/ 6858000 h 6858000"/>
              <a:gd name="connsiteX3" fmla="*/ 0 w 6420036"/>
              <a:gd name="connsiteY3" fmla="*/ 6858000 h 6858000"/>
              <a:gd name="connsiteX4" fmla="*/ 0 w 6420036"/>
              <a:gd name="connsiteY4" fmla="*/ 0 h 6858000"/>
              <a:gd name="connsiteX0" fmla="*/ 2456121 w 6420036"/>
              <a:gd name="connsiteY0" fmla="*/ 0 h 6858000"/>
              <a:gd name="connsiteX1" fmla="*/ 6420036 w 6420036"/>
              <a:gd name="connsiteY1" fmla="*/ 0 h 6858000"/>
              <a:gd name="connsiteX2" fmla="*/ 6420036 w 6420036"/>
              <a:gd name="connsiteY2" fmla="*/ 6858000 h 6858000"/>
              <a:gd name="connsiteX3" fmla="*/ 0 w 6420036"/>
              <a:gd name="connsiteY3" fmla="*/ 6858000 h 6858000"/>
              <a:gd name="connsiteX4" fmla="*/ 2456121 w 6420036"/>
              <a:gd name="connsiteY4" fmla="*/ 0 h 6858000"/>
              <a:gd name="connsiteX0" fmla="*/ 1552353 w 6420036"/>
              <a:gd name="connsiteY0" fmla="*/ 0 h 6858000"/>
              <a:gd name="connsiteX1" fmla="*/ 6420036 w 6420036"/>
              <a:gd name="connsiteY1" fmla="*/ 0 h 6858000"/>
              <a:gd name="connsiteX2" fmla="*/ 6420036 w 6420036"/>
              <a:gd name="connsiteY2" fmla="*/ 6858000 h 6858000"/>
              <a:gd name="connsiteX3" fmla="*/ 0 w 6420036"/>
              <a:gd name="connsiteY3" fmla="*/ 6858000 h 6858000"/>
              <a:gd name="connsiteX4" fmla="*/ 1552353 w 6420036"/>
              <a:gd name="connsiteY4" fmla="*/ 0 h 6858000"/>
              <a:gd name="connsiteX0" fmla="*/ 801091 w 5668774"/>
              <a:gd name="connsiteY0" fmla="*/ 0 h 6858000"/>
              <a:gd name="connsiteX1" fmla="*/ 5668774 w 5668774"/>
              <a:gd name="connsiteY1" fmla="*/ 0 h 6858000"/>
              <a:gd name="connsiteX2" fmla="*/ 5668774 w 5668774"/>
              <a:gd name="connsiteY2" fmla="*/ 6858000 h 6858000"/>
              <a:gd name="connsiteX3" fmla="*/ 0 w 5668774"/>
              <a:gd name="connsiteY3" fmla="*/ 6833937 h 6858000"/>
              <a:gd name="connsiteX4" fmla="*/ 801091 w 5668774"/>
              <a:gd name="connsiteY4" fmla="*/ 0 h 6858000"/>
              <a:gd name="connsiteX0" fmla="*/ 1172084 w 6039767"/>
              <a:gd name="connsiteY0" fmla="*/ 0 h 6882064"/>
              <a:gd name="connsiteX1" fmla="*/ 6039767 w 6039767"/>
              <a:gd name="connsiteY1" fmla="*/ 0 h 6882064"/>
              <a:gd name="connsiteX2" fmla="*/ 6039767 w 6039767"/>
              <a:gd name="connsiteY2" fmla="*/ 6858000 h 6882064"/>
              <a:gd name="connsiteX3" fmla="*/ 0 w 6039767"/>
              <a:gd name="connsiteY3" fmla="*/ 6882064 h 6882064"/>
              <a:gd name="connsiteX4" fmla="*/ 1172084 w 6039767"/>
              <a:gd name="connsiteY4" fmla="*/ 0 h 6882064"/>
              <a:gd name="connsiteX0" fmla="*/ 1181358 w 6049041"/>
              <a:gd name="connsiteY0" fmla="*/ 0 h 6942222"/>
              <a:gd name="connsiteX1" fmla="*/ 6049041 w 6049041"/>
              <a:gd name="connsiteY1" fmla="*/ 0 h 6942222"/>
              <a:gd name="connsiteX2" fmla="*/ 6049041 w 6049041"/>
              <a:gd name="connsiteY2" fmla="*/ 6858000 h 6942222"/>
              <a:gd name="connsiteX3" fmla="*/ 0 w 6049041"/>
              <a:gd name="connsiteY3" fmla="*/ 6942222 h 6942222"/>
              <a:gd name="connsiteX4" fmla="*/ 1181358 w 6049041"/>
              <a:gd name="connsiteY4" fmla="*/ 0 h 6942222"/>
              <a:gd name="connsiteX0" fmla="*/ 1181358 w 6058316"/>
              <a:gd name="connsiteY0" fmla="*/ 0 h 6942222"/>
              <a:gd name="connsiteX1" fmla="*/ 6049041 w 6058316"/>
              <a:gd name="connsiteY1" fmla="*/ 0 h 6942222"/>
              <a:gd name="connsiteX2" fmla="*/ 6058316 w 6058316"/>
              <a:gd name="connsiteY2" fmla="*/ 6918157 h 6942222"/>
              <a:gd name="connsiteX3" fmla="*/ 0 w 6058316"/>
              <a:gd name="connsiteY3" fmla="*/ 6942222 h 6942222"/>
              <a:gd name="connsiteX4" fmla="*/ 1181358 w 6058316"/>
              <a:gd name="connsiteY4" fmla="*/ 0 h 6942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58316" h="6942222">
                <a:moveTo>
                  <a:pt x="1181358" y="0"/>
                </a:moveTo>
                <a:lnTo>
                  <a:pt x="6049041" y="0"/>
                </a:lnTo>
                <a:cubicBezTo>
                  <a:pt x="6052133" y="2306052"/>
                  <a:pt x="6055224" y="4612105"/>
                  <a:pt x="6058316" y="6918157"/>
                </a:cubicBezTo>
                <a:lnTo>
                  <a:pt x="0" y="6942222"/>
                </a:lnTo>
                <a:lnTo>
                  <a:pt x="1181358" y="0"/>
                </a:lnTo>
                <a:close/>
              </a:path>
            </a:pathLst>
          </a:custGeom>
          <a:gradFill>
            <a:gsLst>
              <a:gs pos="0">
                <a:srgbClr val="DCDCDC"/>
              </a:gs>
              <a:gs pos="70000">
                <a:srgbClr val="F3F3F3"/>
              </a:gs>
              <a:gs pos="37000">
                <a:srgbClr val="E9E9E9"/>
              </a:gs>
              <a:gs pos="100000">
                <a:srgbClr val="F6F6F6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8E19D507-6F75-42F0-A5E3-330B30520F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0" y="1808820"/>
            <a:ext cx="5724636" cy="1512168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in maximal drei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ED797E6A-CFEA-4015-81CC-6FFD0F20D3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3428933"/>
            <a:ext cx="5724636" cy="801017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8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xmlns="" id="{3593E6E0-CE48-4A98-A68B-D1D664EA64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877508" cy="6858000"/>
          </a:xfrm>
          <a:custGeom>
            <a:avLst/>
            <a:gdLst>
              <a:gd name="connsiteX0" fmla="*/ 0 w 5877508"/>
              <a:gd name="connsiteY0" fmla="*/ 0 h 6858000"/>
              <a:gd name="connsiteX1" fmla="*/ 5877508 w 5877508"/>
              <a:gd name="connsiteY1" fmla="*/ 0 h 6858000"/>
              <a:gd name="connsiteX2" fmla="*/ 4363610 w 5877508"/>
              <a:gd name="connsiteY2" fmla="*/ 6858000 h 6858000"/>
              <a:gd name="connsiteX3" fmla="*/ 0 w 587750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77508" h="6858000">
                <a:moveTo>
                  <a:pt x="0" y="0"/>
                </a:moveTo>
                <a:lnTo>
                  <a:pt x="5877508" y="0"/>
                </a:lnTo>
                <a:lnTo>
                  <a:pt x="436361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xmlns="" id="{F1E48572-929B-48D6-968C-62B3FB41983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49411" y="255757"/>
            <a:ext cx="2071225" cy="612000"/>
            <a:chOff x="10163610" y="1419508"/>
            <a:chExt cx="1648228" cy="487014"/>
          </a:xfrm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xmlns="" id="{084A64E3-73FA-4471-8116-CB93BD6C253F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xmlns="" id="{DC9BD332-5E07-4FF6-B3E8-BA4E622B0EED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xmlns="" id="{40BB6161-A135-4405-86C9-3BE9D55BA11C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xmlns="" id="{4AC62C91-73AF-4A08-914A-035E1F1862E4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xmlns="" id="{EFA459E5-839A-4EA1-9B98-40ACD58F965D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xmlns="" id="{062A9ED1-D7F7-44D3-9586-E4395EC6752B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xmlns="" id="{C3F757BB-6625-41E7-BABD-DEAEA21FEB29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37000">
                  <a:schemeClr val="accent3"/>
                </a:gs>
                <a:gs pos="100000">
                  <a:schemeClr val="accent2"/>
                </a:gs>
              </a:gsLst>
              <a:lin ang="18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xmlns="" id="{CF095C36-2075-4F64-A091-2C9B6519C20B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xmlns="" id="{2778F65F-DD6D-4DDD-BAC7-384100B6094D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xmlns="" id="{2A1CAD3F-5D56-4671-A56A-236BF476839A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xmlns="" id="{D470E4A8-2F74-4A41-AC65-32F82A46E355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xmlns="" id="{B774A1E5-20BF-4450-BCBB-2DFB996660D3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xmlns="" id="{B6CD3CE3-3229-402E-8795-5DEFAD255755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1" name="Textplatzhalter 9">
            <a:extLst>
              <a:ext uri="{FF2B5EF4-FFF2-40B4-BE49-F238E27FC236}">
                <a16:creationId xmlns:a16="http://schemas.microsoft.com/office/drawing/2014/main" xmlns="" id="{6DD11221-F2EF-409E-B2DC-F385D27417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4770046"/>
            <a:ext cx="5724636" cy="75185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3224923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grau">
    <p:bg>
      <p:bgPr>
        <a:gradFill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9868CE87-A3D5-4AF9-890E-2F5033E91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6357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11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xmlns="" id="{9868CE87-A3D5-4AF9-890E-2F5033E91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86D14A7-87BC-4F8B-B2B7-9C825443F6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3B98BF2A-79CD-4218-88FF-15B0E89A7F82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xmlns="" id="{609C8790-0A06-4D08-9448-60252B683AB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69708" y="2868096"/>
            <a:ext cx="4652583" cy="1121809"/>
          </a:xfrm>
          <a:noFill/>
        </p:spPr>
        <p:txBody>
          <a:bodyPr wrap="none" lIns="144000" tIns="144000" rIns="144000" bIns="144000" anchor="ctr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400" b="1">
                <a:solidFill>
                  <a:schemeClr val="accent2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400" b="1">
                <a:solidFill>
                  <a:schemeClr val="tx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chemeClr val="accent2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chemeClr val="tx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accent2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tx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accent2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xmlns="" id="{F312682E-B211-4876-BCFC-EE161D24C57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69583CED-FB01-49D8-B199-B8D1863B633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A5EE854A-9C8A-48EF-8D11-1B40DB8C1EB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71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55F8548F-152E-47A4-8495-4A8E9E22D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CB174E51-B9FF-404A-BF16-10E360D678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773238"/>
            <a:ext cx="11449050" cy="4176712"/>
          </a:xfrm>
        </p:spPr>
        <p:txBody>
          <a:bodyPr numCol="2" spcCol="216000"/>
          <a:lstStyle>
            <a:lvl1pPr marL="360000" indent="-360000">
              <a:spcBef>
                <a:spcPts val="1200"/>
              </a:spcBef>
              <a:buClr>
                <a:schemeClr val="accent1"/>
              </a:buClr>
              <a:buFontTx/>
              <a:buBlip>
                <a:blip r:embed="rId2"/>
              </a:buBlip>
              <a:defRPr sz="1800"/>
            </a:lvl1pPr>
            <a:lvl2pPr marL="360000" indent="-360000">
              <a:spcBef>
                <a:spcPts val="1200"/>
              </a:spcBef>
              <a:buFontTx/>
              <a:buBlip>
                <a:blip r:embed="rId3"/>
              </a:buBlip>
              <a:defRPr sz="1600">
                <a:solidFill>
                  <a:schemeClr val="accent5"/>
                </a:solidFill>
                <a:latin typeface="+mj-lt"/>
              </a:defRPr>
            </a:lvl2pPr>
            <a:lvl3pPr marL="576000" indent="-216000">
              <a:buFontTx/>
              <a:buBlip>
                <a:blip r:embed="rId4"/>
              </a:buBlip>
              <a:defRPr>
                <a:solidFill>
                  <a:schemeClr val="tx1"/>
                </a:solidFill>
              </a:defRPr>
            </a:lvl3pPr>
            <a:lvl4pPr marL="576000" indent="-216000">
              <a:buFontTx/>
              <a:buBlip>
                <a:blip r:embed="rId5"/>
              </a:buBlip>
              <a:defRPr>
                <a:solidFill>
                  <a:schemeClr val="accent5"/>
                </a:solidFill>
              </a:defRPr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xmlns="" id="{AB767534-7F56-4C78-A609-D9779230D9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24092" y="0"/>
            <a:ext cx="3556796" cy="6858000"/>
          </a:xfrm>
          <a:custGeom>
            <a:avLst/>
            <a:gdLst>
              <a:gd name="connsiteX0" fmla="*/ 1552353 w 3556796"/>
              <a:gd name="connsiteY0" fmla="*/ 0 h 6858000"/>
              <a:gd name="connsiteX1" fmla="*/ 3556796 w 3556796"/>
              <a:gd name="connsiteY1" fmla="*/ 0 h 6858000"/>
              <a:gd name="connsiteX2" fmla="*/ 3556796 w 3556796"/>
              <a:gd name="connsiteY2" fmla="*/ 6858000 h 6858000"/>
              <a:gd name="connsiteX3" fmla="*/ 0 w 355679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56796" h="6858000">
                <a:moveTo>
                  <a:pt x="1552353" y="0"/>
                </a:moveTo>
                <a:lnTo>
                  <a:pt x="3556796" y="0"/>
                </a:lnTo>
                <a:lnTo>
                  <a:pt x="355679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bIns="900000" anchor="b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20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enner grau">
    <p:bg>
      <p:bgPr>
        <a:gradFill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9868CE87-A3D5-4AF9-890E-2F5033E91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25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xmlns="" id="{9868CE87-A3D5-4AF9-890E-2F5033E91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86D14A7-87BC-4F8B-B2B7-9C825443F6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3B98BF2A-79CD-4218-88FF-15B0E89A7F82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xmlns="" id="{609C8790-0A06-4D08-9448-60252B683AB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69708" y="2868096"/>
            <a:ext cx="4652583" cy="1121809"/>
          </a:xfrm>
          <a:noFill/>
        </p:spPr>
        <p:txBody>
          <a:bodyPr wrap="none" lIns="144000" tIns="144000" rIns="144000" bIns="144000" anchor="ctr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400" b="1">
                <a:solidFill>
                  <a:schemeClr val="accent2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400" b="1">
                <a:solidFill>
                  <a:schemeClr val="tx1"/>
                </a:solidFill>
                <a:latin typeface="+mj-lt"/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chemeClr val="accent2"/>
                </a:solidFill>
                <a:latin typeface="+mj-lt"/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800" b="1">
                <a:solidFill>
                  <a:schemeClr val="tx1"/>
                </a:solidFill>
                <a:latin typeface="+mj-lt"/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accent2"/>
                </a:solidFill>
                <a:latin typeface="+mj-lt"/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400" b="1">
                <a:solidFill>
                  <a:schemeClr val="tx1"/>
                </a:solidFill>
                <a:latin typeface="+mj-lt"/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accent2"/>
                </a:solidFill>
                <a:latin typeface="+mj-lt"/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xmlns="" id="{F312682E-B211-4876-BCFC-EE161D24C57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63EDC3D-76E7-438B-816A-FDEB6C299CB6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A5EE854A-9C8A-48EF-8D11-1B40DB8C1EB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reeform 58">
            <a:extLst>
              <a:ext uri="{FF2B5EF4-FFF2-40B4-BE49-F238E27FC236}">
                <a16:creationId xmlns:a16="http://schemas.microsoft.com/office/drawing/2014/main" xmlns="" id="{7CA9202B-BF1A-4237-8D25-B0108BCF8B6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509858" y="3985857"/>
            <a:ext cx="1916113" cy="1831975"/>
          </a:xfrm>
          <a:custGeom>
            <a:avLst/>
            <a:gdLst>
              <a:gd name="T0" fmla="*/ 334 w 579"/>
              <a:gd name="T1" fmla="*/ 451 h 554"/>
              <a:gd name="T2" fmla="*/ 336 w 579"/>
              <a:gd name="T3" fmla="*/ 207 h 554"/>
              <a:gd name="T4" fmla="*/ 520 w 579"/>
              <a:gd name="T5" fmla="*/ 392 h 554"/>
              <a:gd name="T6" fmla="*/ 429 w 579"/>
              <a:gd name="T7" fmla="*/ 392 h 554"/>
              <a:gd name="T8" fmla="*/ 475 w 579"/>
              <a:gd name="T9" fmla="*/ 505 h 554"/>
              <a:gd name="T10" fmla="*/ 441 w 579"/>
              <a:gd name="T11" fmla="*/ 519 h 554"/>
              <a:gd name="T12" fmla="*/ 394 w 579"/>
              <a:gd name="T13" fmla="*/ 405 h 554"/>
              <a:gd name="T14" fmla="*/ 334 w 579"/>
              <a:gd name="T15" fmla="*/ 451 h 554"/>
              <a:gd name="T16" fmla="*/ 33 w 579"/>
              <a:gd name="T17" fmla="*/ 372 h 554"/>
              <a:gd name="T18" fmla="*/ 33 w 579"/>
              <a:gd name="T19" fmla="*/ 33 h 554"/>
              <a:gd name="T20" fmla="*/ 502 w 579"/>
              <a:gd name="T21" fmla="*/ 33 h 554"/>
              <a:gd name="T22" fmla="*/ 502 w 579"/>
              <a:gd name="T23" fmla="*/ 332 h 554"/>
              <a:gd name="T24" fmla="*/ 326 w 579"/>
              <a:gd name="T25" fmla="*/ 155 h 554"/>
              <a:gd name="T26" fmla="*/ 318 w 579"/>
              <a:gd name="T27" fmla="*/ 151 h 554"/>
              <a:gd name="T28" fmla="*/ 306 w 579"/>
              <a:gd name="T29" fmla="*/ 163 h 554"/>
              <a:gd name="T30" fmla="*/ 305 w 579"/>
              <a:gd name="T31" fmla="*/ 372 h 554"/>
              <a:gd name="T32" fmla="*/ 258 w 579"/>
              <a:gd name="T33" fmla="*/ 372 h 554"/>
              <a:gd name="T34" fmla="*/ 120 w 579"/>
              <a:gd name="T35" fmla="*/ 460 h 554"/>
              <a:gd name="T36" fmla="*/ 120 w 579"/>
              <a:gd name="T37" fmla="*/ 372 h 554"/>
              <a:gd name="T38" fmla="*/ 33 w 579"/>
              <a:gd name="T39" fmla="*/ 372 h 554"/>
              <a:gd name="T40" fmla="*/ 522 w 579"/>
              <a:gd name="T41" fmla="*/ 0 h 554"/>
              <a:gd name="T42" fmla="*/ 13 w 579"/>
              <a:gd name="T43" fmla="*/ 0 h 554"/>
              <a:gd name="T44" fmla="*/ 0 w 579"/>
              <a:gd name="T45" fmla="*/ 13 h 554"/>
              <a:gd name="T46" fmla="*/ 0 w 579"/>
              <a:gd name="T47" fmla="*/ 392 h 554"/>
              <a:gd name="T48" fmla="*/ 13 w 579"/>
              <a:gd name="T49" fmla="*/ 404 h 554"/>
              <a:gd name="T50" fmla="*/ 87 w 579"/>
              <a:gd name="T51" fmla="*/ 404 h 554"/>
              <a:gd name="T52" fmla="*/ 87 w 579"/>
              <a:gd name="T53" fmla="*/ 505 h 554"/>
              <a:gd name="T54" fmla="*/ 94 w 579"/>
              <a:gd name="T55" fmla="*/ 516 h 554"/>
              <a:gd name="T56" fmla="*/ 100 w 579"/>
              <a:gd name="T57" fmla="*/ 517 h 554"/>
              <a:gd name="T58" fmla="*/ 107 w 579"/>
              <a:gd name="T59" fmla="*/ 515 h 554"/>
              <a:gd name="T60" fmla="*/ 270 w 579"/>
              <a:gd name="T61" fmla="*/ 404 h 554"/>
              <a:gd name="T62" fmla="*/ 305 w 579"/>
              <a:gd name="T63" fmla="*/ 404 h 554"/>
              <a:gd name="T64" fmla="*/ 304 w 579"/>
              <a:gd name="T65" fmla="*/ 488 h 554"/>
              <a:gd name="T66" fmla="*/ 316 w 579"/>
              <a:gd name="T67" fmla="*/ 500 h 554"/>
              <a:gd name="T68" fmla="*/ 323 w 579"/>
              <a:gd name="T69" fmla="*/ 497 h 554"/>
              <a:gd name="T70" fmla="*/ 381 w 579"/>
              <a:gd name="T71" fmla="*/ 452 h 554"/>
              <a:gd name="T72" fmla="*/ 420 w 579"/>
              <a:gd name="T73" fmla="*/ 547 h 554"/>
              <a:gd name="T74" fmla="*/ 431 w 579"/>
              <a:gd name="T75" fmla="*/ 554 h 554"/>
              <a:gd name="T76" fmla="*/ 435 w 579"/>
              <a:gd name="T77" fmla="*/ 553 h 554"/>
              <a:gd name="T78" fmla="*/ 503 w 579"/>
              <a:gd name="T79" fmla="*/ 525 h 554"/>
              <a:gd name="T80" fmla="*/ 509 w 579"/>
              <a:gd name="T81" fmla="*/ 510 h 554"/>
              <a:gd name="T82" fmla="*/ 473 w 579"/>
              <a:gd name="T83" fmla="*/ 422 h 554"/>
              <a:gd name="T84" fmla="*/ 563 w 579"/>
              <a:gd name="T85" fmla="*/ 422 h 554"/>
              <a:gd name="T86" fmla="*/ 571 w 579"/>
              <a:gd name="T87" fmla="*/ 402 h 554"/>
              <a:gd name="T88" fmla="*/ 535 w 579"/>
              <a:gd name="T89" fmla="*/ 366 h 554"/>
              <a:gd name="T90" fmla="*/ 535 w 579"/>
              <a:gd name="T91" fmla="*/ 13 h 554"/>
              <a:gd name="T92" fmla="*/ 522 w 579"/>
              <a:gd name="T93" fmla="*/ 0 h 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79" h="554">
                <a:moveTo>
                  <a:pt x="334" y="451"/>
                </a:moveTo>
                <a:cubicBezTo>
                  <a:pt x="336" y="207"/>
                  <a:pt x="336" y="207"/>
                  <a:pt x="336" y="207"/>
                </a:cubicBezTo>
                <a:cubicBezTo>
                  <a:pt x="520" y="392"/>
                  <a:pt x="520" y="392"/>
                  <a:pt x="520" y="392"/>
                </a:cubicBezTo>
                <a:cubicBezTo>
                  <a:pt x="429" y="392"/>
                  <a:pt x="429" y="392"/>
                  <a:pt x="429" y="392"/>
                </a:cubicBezTo>
                <a:cubicBezTo>
                  <a:pt x="475" y="505"/>
                  <a:pt x="475" y="505"/>
                  <a:pt x="475" y="505"/>
                </a:cubicBezTo>
                <a:cubicBezTo>
                  <a:pt x="441" y="519"/>
                  <a:pt x="441" y="519"/>
                  <a:pt x="441" y="519"/>
                </a:cubicBezTo>
                <a:cubicBezTo>
                  <a:pt x="394" y="405"/>
                  <a:pt x="394" y="405"/>
                  <a:pt x="394" y="405"/>
                </a:cubicBezTo>
                <a:cubicBezTo>
                  <a:pt x="334" y="451"/>
                  <a:pt x="334" y="451"/>
                  <a:pt x="334" y="451"/>
                </a:cubicBezTo>
                <a:moveTo>
                  <a:pt x="33" y="372"/>
                </a:moveTo>
                <a:cubicBezTo>
                  <a:pt x="33" y="33"/>
                  <a:pt x="33" y="33"/>
                  <a:pt x="33" y="33"/>
                </a:cubicBezTo>
                <a:cubicBezTo>
                  <a:pt x="502" y="33"/>
                  <a:pt x="502" y="33"/>
                  <a:pt x="502" y="33"/>
                </a:cubicBezTo>
                <a:cubicBezTo>
                  <a:pt x="502" y="332"/>
                  <a:pt x="502" y="332"/>
                  <a:pt x="502" y="332"/>
                </a:cubicBezTo>
                <a:cubicBezTo>
                  <a:pt x="326" y="155"/>
                  <a:pt x="326" y="155"/>
                  <a:pt x="326" y="155"/>
                </a:cubicBezTo>
                <a:cubicBezTo>
                  <a:pt x="324" y="152"/>
                  <a:pt x="321" y="151"/>
                  <a:pt x="318" y="151"/>
                </a:cubicBezTo>
                <a:cubicBezTo>
                  <a:pt x="312" y="151"/>
                  <a:pt x="306" y="156"/>
                  <a:pt x="306" y="163"/>
                </a:cubicBezTo>
                <a:cubicBezTo>
                  <a:pt x="305" y="372"/>
                  <a:pt x="305" y="372"/>
                  <a:pt x="305" y="372"/>
                </a:cubicBezTo>
                <a:cubicBezTo>
                  <a:pt x="258" y="372"/>
                  <a:pt x="258" y="372"/>
                  <a:pt x="258" y="372"/>
                </a:cubicBezTo>
                <a:cubicBezTo>
                  <a:pt x="120" y="460"/>
                  <a:pt x="120" y="460"/>
                  <a:pt x="120" y="460"/>
                </a:cubicBezTo>
                <a:cubicBezTo>
                  <a:pt x="120" y="372"/>
                  <a:pt x="120" y="372"/>
                  <a:pt x="120" y="372"/>
                </a:cubicBezTo>
                <a:cubicBezTo>
                  <a:pt x="33" y="372"/>
                  <a:pt x="33" y="372"/>
                  <a:pt x="33" y="372"/>
                </a:cubicBezTo>
                <a:moveTo>
                  <a:pt x="522" y="0"/>
                </a:moveTo>
                <a:cubicBezTo>
                  <a:pt x="13" y="0"/>
                  <a:pt x="13" y="0"/>
                  <a:pt x="13" y="0"/>
                </a:cubicBezTo>
                <a:cubicBezTo>
                  <a:pt x="6" y="0"/>
                  <a:pt x="0" y="6"/>
                  <a:pt x="0" y="13"/>
                </a:cubicBezTo>
                <a:cubicBezTo>
                  <a:pt x="0" y="392"/>
                  <a:pt x="0" y="392"/>
                  <a:pt x="0" y="392"/>
                </a:cubicBezTo>
                <a:cubicBezTo>
                  <a:pt x="0" y="399"/>
                  <a:pt x="6" y="404"/>
                  <a:pt x="13" y="404"/>
                </a:cubicBezTo>
                <a:cubicBezTo>
                  <a:pt x="87" y="404"/>
                  <a:pt x="87" y="404"/>
                  <a:pt x="87" y="404"/>
                </a:cubicBezTo>
                <a:cubicBezTo>
                  <a:pt x="87" y="505"/>
                  <a:pt x="87" y="505"/>
                  <a:pt x="87" y="505"/>
                </a:cubicBezTo>
                <a:cubicBezTo>
                  <a:pt x="87" y="509"/>
                  <a:pt x="90" y="514"/>
                  <a:pt x="94" y="516"/>
                </a:cubicBezTo>
                <a:cubicBezTo>
                  <a:pt x="96" y="517"/>
                  <a:pt x="98" y="517"/>
                  <a:pt x="100" y="517"/>
                </a:cubicBezTo>
                <a:cubicBezTo>
                  <a:pt x="102" y="517"/>
                  <a:pt x="105" y="517"/>
                  <a:pt x="107" y="515"/>
                </a:cubicBezTo>
                <a:cubicBezTo>
                  <a:pt x="270" y="404"/>
                  <a:pt x="270" y="404"/>
                  <a:pt x="270" y="404"/>
                </a:cubicBezTo>
                <a:cubicBezTo>
                  <a:pt x="305" y="404"/>
                  <a:pt x="305" y="404"/>
                  <a:pt x="305" y="404"/>
                </a:cubicBezTo>
                <a:cubicBezTo>
                  <a:pt x="304" y="488"/>
                  <a:pt x="304" y="488"/>
                  <a:pt x="304" y="488"/>
                </a:cubicBezTo>
                <a:cubicBezTo>
                  <a:pt x="304" y="495"/>
                  <a:pt x="310" y="500"/>
                  <a:pt x="316" y="500"/>
                </a:cubicBezTo>
                <a:cubicBezTo>
                  <a:pt x="318" y="500"/>
                  <a:pt x="321" y="499"/>
                  <a:pt x="323" y="497"/>
                </a:cubicBezTo>
                <a:cubicBezTo>
                  <a:pt x="381" y="452"/>
                  <a:pt x="381" y="452"/>
                  <a:pt x="381" y="452"/>
                </a:cubicBezTo>
                <a:cubicBezTo>
                  <a:pt x="420" y="547"/>
                  <a:pt x="420" y="547"/>
                  <a:pt x="420" y="547"/>
                </a:cubicBezTo>
                <a:cubicBezTo>
                  <a:pt x="422" y="551"/>
                  <a:pt x="426" y="554"/>
                  <a:pt x="431" y="554"/>
                </a:cubicBezTo>
                <a:cubicBezTo>
                  <a:pt x="432" y="554"/>
                  <a:pt x="434" y="554"/>
                  <a:pt x="435" y="553"/>
                </a:cubicBezTo>
                <a:cubicBezTo>
                  <a:pt x="503" y="525"/>
                  <a:pt x="503" y="525"/>
                  <a:pt x="503" y="525"/>
                </a:cubicBezTo>
                <a:cubicBezTo>
                  <a:pt x="509" y="523"/>
                  <a:pt x="512" y="516"/>
                  <a:pt x="509" y="510"/>
                </a:cubicBezTo>
                <a:cubicBezTo>
                  <a:pt x="473" y="422"/>
                  <a:pt x="473" y="422"/>
                  <a:pt x="473" y="422"/>
                </a:cubicBezTo>
                <a:cubicBezTo>
                  <a:pt x="563" y="422"/>
                  <a:pt x="563" y="422"/>
                  <a:pt x="563" y="422"/>
                </a:cubicBezTo>
                <a:cubicBezTo>
                  <a:pt x="574" y="422"/>
                  <a:pt x="579" y="410"/>
                  <a:pt x="571" y="402"/>
                </a:cubicBezTo>
                <a:cubicBezTo>
                  <a:pt x="535" y="366"/>
                  <a:pt x="535" y="366"/>
                  <a:pt x="535" y="366"/>
                </a:cubicBezTo>
                <a:cubicBezTo>
                  <a:pt x="535" y="13"/>
                  <a:pt x="535" y="13"/>
                  <a:pt x="535" y="13"/>
                </a:cubicBezTo>
                <a:cubicBezTo>
                  <a:pt x="535" y="6"/>
                  <a:pt x="529" y="0"/>
                  <a:pt x="522" y="0"/>
                </a:cubicBezTo>
              </a:path>
            </a:pathLst>
          </a:custGeom>
          <a:solidFill>
            <a:schemeClr val="accent5">
              <a:lumMod val="60000"/>
              <a:lumOff val="40000"/>
              <a:alpha val="16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0" name="Group 51">
            <a:extLst>
              <a:ext uri="{FF2B5EF4-FFF2-40B4-BE49-F238E27FC236}">
                <a16:creationId xmlns:a16="http://schemas.microsoft.com/office/drawing/2014/main" xmlns="" id="{73A3E814-199E-4020-9DA1-295DF4F5A45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416655" y="4255566"/>
            <a:ext cx="1190875" cy="1149124"/>
            <a:chOff x="3536" y="1871"/>
            <a:chExt cx="599" cy="578"/>
          </a:xfrm>
          <a:solidFill>
            <a:schemeClr val="bg1">
              <a:lumMod val="75000"/>
              <a:alpha val="16000"/>
            </a:schemeClr>
          </a:solidFill>
        </p:grpSpPr>
        <p:sp>
          <p:nvSpPr>
            <p:cNvPr id="12" name="Freeform 52">
              <a:extLst>
                <a:ext uri="{FF2B5EF4-FFF2-40B4-BE49-F238E27FC236}">
                  <a16:creationId xmlns:a16="http://schemas.microsoft.com/office/drawing/2014/main" xmlns="" id="{1C137107-D7E7-4D77-8F40-28A6A95E42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6" y="1871"/>
              <a:ext cx="599" cy="578"/>
            </a:xfrm>
            <a:custGeom>
              <a:avLst/>
              <a:gdLst>
                <a:gd name="T0" fmla="*/ 18 w 286"/>
                <a:gd name="T1" fmla="*/ 198 h 276"/>
                <a:gd name="T2" fmla="*/ 18 w 286"/>
                <a:gd name="T3" fmla="*/ 18 h 276"/>
                <a:gd name="T4" fmla="*/ 268 w 286"/>
                <a:gd name="T5" fmla="*/ 18 h 276"/>
                <a:gd name="T6" fmla="*/ 268 w 286"/>
                <a:gd name="T7" fmla="*/ 198 h 276"/>
                <a:gd name="T8" fmla="*/ 222 w 286"/>
                <a:gd name="T9" fmla="*/ 198 h 276"/>
                <a:gd name="T10" fmla="*/ 222 w 286"/>
                <a:gd name="T11" fmla="*/ 245 h 276"/>
                <a:gd name="T12" fmla="*/ 148 w 286"/>
                <a:gd name="T13" fmla="*/ 198 h 276"/>
                <a:gd name="T14" fmla="*/ 148 w 286"/>
                <a:gd name="T15" fmla="*/ 198 h 276"/>
                <a:gd name="T16" fmla="*/ 18 w 286"/>
                <a:gd name="T17" fmla="*/ 198 h 276"/>
                <a:gd name="T18" fmla="*/ 279 w 286"/>
                <a:gd name="T19" fmla="*/ 0 h 276"/>
                <a:gd name="T20" fmla="*/ 7 w 286"/>
                <a:gd name="T21" fmla="*/ 0 h 276"/>
                <a:gd name="T22" fmla="*/ 0 w 286"/>
                <a:gd name="T23" fmla="*/ 7 h 276"/>
                <a:gd name="T24" fmla="*/ 0 w 286"/>
                <a:gd name="T25" fmla="*/ 209 h 276"/>
                <a:gd name="T26" fmla="*/ 7 w 286"/>
                <a:gd name="T27" fmla="*/ 216 h 276"/>
                <a:gd name="T28" fmla="*/ 142 w 286"/>
                <a:gd name="T29" fmla="*/ 216 h 276"/>
                <a:gd name="T30" fmla="*/ 229 w 286"/>
                <a:gd name="T31" fmla="*/ 275 h 276"/>
                <a:gd name="T32" fmla="*/ 233 w 286"/>
                <a:gd name="T33" fmla="*/ 276 h 276"/>
                <a:gd name="T34" fmla="*/ 236 w 286"/>
                <a:gd name="T35" fmla="*/ 275 h 276"/>
                <a:gd name="T36" fmla="*/ 239 w 286"/>
                <a:gd name="T37" fmla="*/ 269 h 276"/>
                <a:gd name="T38" fmla="*/ 239 w 286"/>
                <a:gd name="T39" fmla="*/ 216 h 276"/>
                <a:gd name="T40" fmla="*/ 279 w 286"/>
                <a:gd name="T41" fmla="*/ 216 h 276"/>
                <a:gd name="T42" fmla="*/ 286 w 286"/>
                <a:gd name="T43" fmla="*/ 209 h 276"/>
                <a:gd name="T44" fmla="*/ 286 w 286"/>
                <a:gd name="T45" fmla="*/ 7 h 276"/>
                <a:gd name="T46" fmla="*/ 279 w 286"/>
                <a:gd name="T47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6" h="276">
                  <a:moveTo>
                    <a:pt x="18" y="198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268" y="18"/>
                    <a:pt x="268" y="18"/>
                    <a:pt x="268" y="18"/>
                  </a:cubicBezTo>
                  <a:cubicBezTo>
                    <a:pt x="268" y="198"/>
                    <a:pt x="268" y="198"/>
                    <a:pt x="268" y="198"/>
                  </a:cubicBezTo>
                  <a:cubicBezTo>
                    <a:pt x="222" y="198"/>
                    <a:pt x="222" y="198"/>
                    <a:pt x="222" y="198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8" y="198"/>
                    <a:pt x="18" y="198"/>
                    <a:pt x="18" y="198"/>
                  </a:cubicBezTo>
                  <a:moveTo>
                    <a:pt x="27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13"/>
                    <a:pt x="3" y="216"/>
                    <a:pt x="7" y="216"/>
                  </a:cubicBezTo>
                  <a:cubicBezTo>
                    <a:pt x="142" y="216"/>
                    <a:pt x="142" y="216"/>
                    <a:pt x="142" y="216"/>
                  </a:cubicBezTo>
                  <a:cubicBezTo>
                    <a:pt x="229" y="275"/>
                    <a:pt x="229" y="275"/>
                    <a:pt x="229" y="275"/>
                  </a:cubicBezTo>
                  <a:cubicBezTo>
                    <a:pt x="230" y="276"/>
                    <a:pt x="231" y="276"/>
                    <a:pt x="233" y="276"/>
                  </a:cubicBezTo>
                  <a:cubicBezTo>
                    <a:pt x="234" y="276"/>
                    <a:pt x="235" y="276"/>
                    <a:pt x="236" y="275"/>
                  </a:cubicBezTo>
                  <a:cubicBezTo>
                    <a:pt x="238" y="274"/>
                    <a:pt x="239" y="272"/>
                    <a:pt x="239" y="269"/>
                  </a:cubicBezTo>
                  <a:cubicBezTo>
                    <a:pt x="239" y="216"/>
                    <a:pt x="239" y="216"/>
                    <a:pt x="239" y="216"/>
                  </a:cubicBezTo>
                  <a:cubicBezTo>
                    <a:pt x="279" y="216"/>
                    <a:pt x="279" y="216"/>
                    <a:pt x="279" y="216"/>
                  </a:cubicBezTo>
                  <a:cubicBezTo>
                    <a:pt x="283" y="216"/>
                    <a:pt x="286" y="213"/>
                    <a:pt x="286" y="209"/>
                  </a:cubicBezTo>
                  <a:cubicBezTo>
                    <a:pt x="286" y="7"/>
                    <a:pt x="286" y="7"/>
                    <a:pt x="286" y="7"/>
                  </a:cubicBezTo>
                  <a:cubicBezTo>
                    <a:pt x="286" y="3"/>
                    <a:pt x="283" y="0"/>
                    <a:pt x="27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53">
              <a:extLst>
                <a:ext uri="{FF2B5EF4-FFF2-40B4-BE49-F238E27FC236}">
                  <a16:creationId xmlns:a16="http://schemas.microsoft.com/office/drawing/2014/main" xmlns="" id="{EC99792A-5847-4FB8-A325-2E7354796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" y="2078"/>
              <a:ext cx="287" cy="178"/>
            </a:xfrm>
            <a:custGeom>
              <a:avLst/>
              <a:gdLst>
                <a:gd name="T0" fmla="*/ 44 w 137"/>
                <a:gd name="T1" fmla="*/ 0 h 85"/>
                <a:gd name="T2" fmla="*/ 39 w 137"/>
                <a:gd name="T3" fmla="*/ 2 h 85"/>
                <a:gd name="T4" fmla="*/ 3 w 137"/>
                <a:gd name="T5" fmla="*/ 38 h 85"/>
                <a:gd name="T6" fmla="*/ 3 w 137"/>
                <a:gd name="T7" fmla="*/ 47 h 85"/>
                <a:gd name="T8" fmla="*/ 39 w 137"/>
                <a:gd name="T9" fmla="*/ 83 h 85"/>
                <a:gd name="T10" fmla="*/ 44 w 137"/>
                <a:gd name="T11" fmla="*/ 85 h 85"/>
                <a:gd name="T12" fmla="*/ 48 w 137"/>
                <a:gd name="T13" fmla="*/ 83 h 85"/>
                <a:gd name="T14" fmla="*/ 51 w 137"/>
                <a:gd name="T15" fmla="*/ 81 h 85"/>
                <a:gd name="T16" fmla="*/ 51 w 137"/>
                <a:gd name="T17" fmla="*/ 72 h 85"/>
                <a:gd name="T18" fmla="*/ 30 w 137"/>
                <a:gd name="T19" fmla="*/ 51 h 85"/>
                <a:gd name="T20" fmla="*/ 131 w 137"/>
                <a:gd name="T21" fmla="*/ 51 h 85"/>
                <a:gd name="T22" fmla="*/ 137 w 137"/>
                <a:gd name="T23" fmla="*/ 45 h 85"/>
                <a:gd name="T24" fmla="*/ 137 w 137"/>
                <a:gd name="T25" fmla="*/ 41 h 85"/>
                <a:gd name="T26" fmla="*/ 131 w 137"/>
                <a:gd name="T27" fmla="*/ 34 h 85"/>
                <a:gd name="T28" fmla="*/ 30 w 137"/>
                <a:gd name="T29" fmla="*/ 34 h 85"/>
                <a:gd name="T30" fmla="*/ 51 w 137"/>
                <a:gd name="T31" fmla="*/ 13 h 85"/>
                <a:gd name="T32" fmla="*/ 51 w 137"/>
                <a:gd name="T33" fmla="*/ 5 h 85"/>
                <a:gd name="T34" fmla="*/ 48 w 137"/>
                <a:gd name="T35" fmla="*/ 2 h 85"/>
                <a:gd name="T36" fmla="*/ 44 w 137"/>
                <a:gd name="T3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7" h="85">
                  <a:moveTo>
                    <a:pt x="44" y="0"/>
                  </a:moveTo>
                  <a:cubicBezTo>
                    <a:pt x="42" y="0"/>
                    <a:pt x="40" y="0"/>
                    <a:pt x="39" y="2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0" y="41"/>
                    <a:pt x="0" y="45"/>
                    <a:pt x="3" y="47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40" y="85"/>
                    <a:pt x="42" y="85"/>
                    <a:pt x="44" y="85"/>
                  </a:cubicBezTo>
                  <a:cubicBezTo>
                    <a:pt x="45" y="85"/>
                    <a:pt x="47" y="85"/>
                    <a:pt x="48" y="83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3" y="78"/>
                    <a:pt x="53" y="74"/>
                    <a:pt x="51" y="7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34" y="51"/>
                    <a:pt x="137" y="48"/>
                    <a:pt x="137" y="45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37"/>
                    <a:pt x="134" y="34"/>
                    <a:pt x="131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53" y="11"/>
                    <a:pt x="53" y="7"/>
                    <a:pt x="51" y="5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7" y="0"/>
                    <a:pt x="45" y="0"/>
                    <a:pt x="4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54">
              <a:extLst>
                <a:ext uri="{FF2B5EF4-FFF2-40B4-BE49-F238E27FC236}">
                  <a16:creationId xmlns:a16="http://schemas.microsoft.com/office/drawing/2014/main" xmlns="" id="{365569F1-7633-43AC-9247-E27F4021F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1934"/>
              <a:ext cx="287" cy="178"/>
            </a:xfrm>
            <a:custGeom>
              <a:avLst/>
              <a:gdLst>
                <a:gd name="T0" fmla="*/ 93 w 137"/>
                <a:gd name="T1" fmla="*/ 0 h 85"/>
                <a:gd name="T2" fmla="*/ 89 w 137"/>
                <a:gd name="T3" fmla="*/ 1 h 85"/>
                <a:gd name="T4" fmla="*/ 86 w 137"/>
                <a:gd name="T5" fmla="*/ 4 h 85"/>
                <a:gd name="T6" fmla="*/ 86 w 137"/>
                <a:gd name="T7" fmla="*/ 13 h 85"/>
                <a:gd name="T8" fmla="*/ 107 w 137"/>
                <a:gd name="T9" fmla="*/ 34 h 85"/>
                <a:gd name="T10" fmla="*/ 6 w 137"/>
                <a:gd name="T11" fmla="*/ 34 h 85"/>
                <a:gd name="T12" fmla="*/ 0 w 137"/>
                <a:gd name="T13" fmla="*/ 40 h 85"/>
                <a:gd name="T14" fmla="*/ 0 w 137"/>
                <a:gd name="T15" fmla="*/ 44 h 85"/>
                <a:gd name="T16" fmla="*/ 6 w 137"/>
                <a:gd name="T17" fmla="*/ 51 h 85"/>
                <a:gd name="T18" fmla="*/ 107 w 137"/>
                <a:gd name="T19" fmla="*/ 51 h 85"/>
                <a:gd name="T20" fmla="*/ 86 w 137"/>
                <a:gd name="T21" fmla="*/ 72 h 85"/>
                <a:gd name="T22" fmla="*/ 86 w 137"/>
                <a:gd name="T23" fmla="*/ 80 h 85"/>
                <a:gd name="T24" fmla="*/ 89 w 137"/>
                <a:gd name="T25" fmla="*/ 83 h 85"/>
                <a:gd name="T26" fmla="*/ 93 w 137"/>
                <a:gd name="T27" fmla="*/ 85 h 85"/>
                <a:gd name="T28" fmla="*/ 98 w 137"/>
                <a:gd name="T29" fmla="*/ 83 h 85"/>
                <a:gd name="T30" fmla="*/ 134 w 137"/>
                <a:gd name="T31" fmla="*/ 47 h 85"/>
                <a:gd name="T32" fmla="*/ 134 w 137"/>
                <a:gd name="T33" fmla="*/ 38 h 85"/>
                <a:gd name="T34" fmla="*/ 98 w 137"/>
                <a:gd name="T35" fmla="*/ 1 h 85"/>
                <a:gd name="T36" fmla="*/ 93 w 137"/>
                <a:gd name="T3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7" h="85">
                  <a:moveTo>
                    <a:pt x="93" y="0"/>
                  </a:moveTo>
                  <a:cubicBezTo>
                    <a:pt x="92" y="0"/>
                    <a:pt x="90" y="0"/>
                    <a:pt x="89" y="1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4" y="7"/>
                    <a:pt x="84" y="11"/>
                    <a:pt x="86" y="13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3" y="34"/>
                    <a:pt x="0" y="37"/>
                    <a:pt x="0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8"/>
                    <a:pt x="3" y="51"/>
                    <a:pt x="6" y="51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4" y="74"/>
                    <a:pt x="84" y="78"/>
                    <a:pt x="86" y="80"/>
                  </a:cubicBezTo>
                  <a:cubicBezTo>
                    <a:pt x="89" y="83"/>
                    <a:pt x="89" y="83"/>
                    <a:pt x="89" y="83"/>
                  </a:cubicBezTo>
                  <a:cubicBezTo>
                    <a:pt x="90" y="84"/>
                    <a:pt x="92" y="85"/>
                    <a:pt x="93" y="85"/>
                  </a:cubicBezTo>
                  <a:cubicBezTo>
                    <a:pt x="95" y="85"/>
                    <a:pt x="97" y="84"/>
                    <a:pt x="98" y="83"/>
                  </a:cubicBezTo>
                  <a:cubicBezTo>
                    <a:pt x="134" y="47"/>
                    <a:pt x="134" y="47"/>
                    <a:pt x="134" y="47"/>
                  </a:cubicBezTo>
                  <a:cubicBezTo>
                    <a:pt x="137" y="44"/>
                    <a:pt x="137" y="40"/>
                    <a:pt x="134" y="38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7" y="0"/>
                    <a:pt x="95" y="0"/>
                    <a:pt x="9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" name="Group 61">
            <a:extLst>
              <a:ext uri="{FF2B5EF4-FFF2-40B4-BE49-F238E27FC236}">
                <a16:creationId xmlns:a16="http://schemas.microsoft.com/office/drawing/2014/main" xmlns="" id="{3E27D76B-F5ED-478F-8988-7898B23339C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459762" y="1929887"/>
            <a:ext cx="807456" cy="747292"/>
            <a:chOff x="5424" y="2178"/>
            <a:chExt cx="255" cy="236"/>
          </a:xfrm>
          <a:solidFill>
            <a:schemeClr val="bg1">
              <a:lumMod val="75000"/>
              <a:alpha val="16000"/>
            </a:schemeClr>
          </a:solidFill>
        </p:grpSpPr>
        <p:sp>
          <p:nvSpPr>
            <p:cNvPr id="16" name="Freeform 62">
              <a:extLst>
                <a:ext uri="{FF2B5EF4-FFF2-40B4-BE49-F238E27FC236}">
                  <a16:creationId xmlns:a16="http://schemas.microsoft.com/office/drawing/2014/main" xmlns="" id="{1E18A54D-4E59-4201-BF9B-51304B9DC6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" y="2178"/>
              <a:ext cx="255" cy="236"/>
            </a:xfrm>
            <a:custGeom>
              <a:avLst/>
              <a:gdLst>
                <a:gd name="T0" fmla="*/ 7 w 120"/>
                <a:gd name="T1" fmla="*/ 90 h 111"/>
                <a:gd name="T2" fmla="*/ 7 w 120"/>
                <a:gd name="T3" fmla="*/ 33 h 111"/>
                <a:gd name="T4" fmla="*/ 112 w 120"/>
                <a:gd name="T5" fmla="*/ 33 h 111"/>
                <a:gd name="T6" fmla="*/ 112 w 120"/>
                <a:gd name="T7" fmla="*/ 90 h 111"/>
                <a:gd name="T8" fmla="*/ 63 w 120"/>
                <a:gd name="T9" fmla="*/ 90 h 111"/>
                <a:gd name="T10" fmla="*/ 63 w 120"/>
                <a:gd name="T11" fmla="*/ 63 h 111"/>
                <a:gd name="T12" fmla="*/ 73 w 120"/>
                <a:gd name="T13" fmla="*/ 72 h 111"/>
                <a:gd name="T14" fmla="*/ 75 w 120"/>
                <a:gd name="T15" fmla="*/ 73 h 111"/>
                <a:gd name="T16" fmla="*/ 77 w 120"/>
                <a:gd name="T17" fmla="*/ 72 h 111"/>
                <a:gd name="T18" fmla="*/ 78 w 120"/>
                <a:gd name="T19" fmla="*/ 71 h 111"/>
                <a:gd name="T20" fmla="*/ 78 w 120"/>
                <a:gd name="T21" fmla="*/ 67 h 111"/>
                <a:gd name="T22" fmla="*/ 61 w 120"/>
                <a:gd name="T23" fmla="*/ 51 h 111"/>
                <a:gd name="T24" fmla="*/ 59 w 120"/>
                <a:gd name="T25" fmla="*/ 50 h 111"/>
                <a:gd name="T26" fmla="*/ 58 w 120"/>
                <a:gd name="T27" fmla="*/ 51 h 111"/>
                <a:gd name="T28" fmla="*/ 41 w 120"/>
                <a:gd name="T29" fmla="*/ 67 h 111"/>
                <a:gd name="T30" fmla="*/ 41 w 120"/>
                <a:gd name="T31" fmla="*/ 71 h 111"/>
                <a:gd name="T32" fmla="*/ 42 w 120"/>
                <a:gd name="T33" fmla="*/ 72 h 111"/>
                <a:gd name="T34" fmla="*/ 44 w 120"/>
                <a:gd name="T35" fmla="*/ 73 h 111"/>
                <a:gd name="T36" fmla="*/ 46 w 120"/>
                <a:gd name="T37" fmla="*/ 72 h 111"/>
                <a:gd name="T38" fmla="*/ 56 w 120"/>
                <a:gd name="T39" fmla="*/ 63 h 111"/>
                <a:gd name="T40" fmla="*/ 56 w 120"/>
                <a:gd name="T41" fmla="*/ 90 h 111"/>
                <a:gd name="T42" fmla="*/ 7 w 120"/>
                <a:gd name="T43" fmla="*/ 90 h 111"/>
                <a:gd name="T44" fmla="*/ 7 w 120"/>
                <a:gd name="T45" fmla="*/ 25 h 111"/>
                <a:gd name="T46" fmla="*/ 7 w 120"/>
                <a:gd name="T47" fmla="*/ 8 h 111"/>
                <a:gd name="T48" fmla="*/ 112 w 120"/>
                <a:gd name="T49" fmla="*/ 8 h 111"/>
                <a:gd name="T50" fmla="*/ 112 w 120"/>
                <a:gd name="T51" fmla="*/ 25 h 111"/>
                <a:gd name="T52" fmla="*/ 7 w 120"/>
                <a:gd name="T53" fmla="*/ 25 h 111"/>
                <a:gd name="T54" fmla="*/ 117 w 120"/>
                <a:gd name="T55" fmla="*/ 0 h 111"/>
                <a:gd name="T56" fmla="*/ 3 w 120"/>
                <a:gd name="T57" fmla="*/ 0 h 111"/>
                <a:gd name="T58" fmla="*/ 0 w 120"/>
                <a:gd name="T59" fmla="*/ 3 h 111"/>
                <a:gd name="T60" fmla="*/ 0 w 120"/>
                <a:gd name="T61" fmla="*/ 94 h 111"/>
                <a:gd name="T62" fmla="*/ 3 w 120"/>
                <a:gd name="T63" fmla="*/ 97 h 111"/>
                <a:gd name="T64" fmla="*/ 56 w 120"/>
                <a:gd name="T65" fmla="*/ 97 h 111"/>
                <a:gd name="T66" fmla="*/ 56 w 120"/>
                <a:gd name="T67" fmla="*/ 108 h 111"/>
                <a:gd name="T68" fmla="*/ 59 w 120"/>
                <a:gd name="T69" fmla="*/ 111 h 111"/>
                <a:gd name="T70" fmla="*/ 60 w 120"/>
                <a:gd name="T71" fmla="*/ 111 h 111"/>
                <a:gd name="T72" fmla="*/ 63 w 120"/>
                <a:gd name="T73" fmla="*/ 108 h 111"/>
                <a:gd name="T74" fmla="*/ 63 w 120"/>
                <a:gd name="T75" fmla="*/ 97 h 111"/>
                <a:gd name="T76" fmla="*/ 117 w 120"/>
                <a:gd name="T77" fmla="*/ 97 h 111"/>
                <a:gd name="T78" fmla="*/ 120 w 120"/>
                <a:gd name="T79" fmla="*/ 94 h 111"/>
                <a:gd name="T80" fmla="*/ 120 w 120"/>
                <a:gd name="T81" fmla="*/ 3 h 111"/>
                <a:gd name="T82" fmla="*/ 117 w 120"/>
                <a:gd name="T8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11">
                  <a:moveTo>
                    <a:pt x="7" y="90"/>
                  </a:moveTo>
                  <a:cubicBezTo>
                    <a:pt x="7" y="33"/>
                    <a:pt x="7" y="33"/>
                    <a:pt x="7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73" y="72"/>
                    <a:pt x="73" y="72"/>
                    <a:pt x="73" y="72"/>
                  </a:cubicBezTo>
                  <a:cubicBezTo>
                    <a:pt x="73" y="73"/>
                    <a:pt x="74" y="73"/>
                    <a:pt x="75" y="73"/>
                  </a:cubicBezTo>
                  <a:cubicBezTo>
                    <a:pt x="75" y="73"/>
                    <a:pt x="76" y="73"/>
                    <a:pt x="77" y="72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9" y="70"/>
                    <a:pt x="79" y="68"/>
                    <a:pt x="78" y="67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1" y="50"/>
                    <a:pt x="60" y="50"/>
                    <a:pt x="59" y="50"/>
                  </a:cubicBezTo>
                  <a:cubicBezTo>
                    <a:pt x="59" y="50"/>
                    <a:pt x="58" y="50"/>
                    <a:pt x="58" y="51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0" y="68"/>
                    <a:pt x="40" y="70"/>
                    <a:pt x="41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3" y="73"/>
                    <a:pt x="44" y="73"/>
                    <a:pt x="44" y="73"/>
                  </a:cubicBezTo>
                  <a:cubicBezTo>
                    <a:pt x="45" y="73"/>
                    <a:pt x="46" y="73"/>
                    <a:pt x="46" y="72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7" y="90"/>
                    <a:pt x="7" y="90"/>
                    <a:pt x="7" y="90"/>
                  </a:cubicBezTo>
                  <a:moveTo>
                    <a:pt x="7" y="25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7" y="25"/>
                    <a:pt x="7" y="25"/>
                    <a:pt x="7" y="25"/>
                  </a:cubicBezTo>
                  <a:moveTo>
                    <a:pt x="11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6"/>
                    <a:pt x="1" y="97"/>
                    <a:pt x="3" y="97"/>
                  </a:cubicBezTo>
                  <a:cubicBezTo>
                    <a:pt x="56" y="97"/>
                    <a:pt x="56" y="97"/>
                    <a:pt x="56" y="97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6" y="110"/>
                    <a:pt x="57" y="111"/>
                    <a:pt x="59" y="111"/>
                  </a:cubicBezTo>
                  <a:cubicBezTo>
                    <a:pt x="60" y="111"/>
                    <a:pt x="60" y="111"/>
                    <a:pt x="60" y="111"/>
                  </a:cubicBezTo>
                  <a:cubicBezTo>
                    <a:pt x="62" y="111"/>
                    <a:pt x="63" y="110"/>
                    <a:pt x="63" y="108"/>
                  </a:cubicBezTo>
                  <a:cubicBezTo>
                    <a:pt x="63" y="97"/>
                    <a:pt x="63" y="97"/>
                    <a:pt x="63" y="97"/>
                  </a:cubicBezTo>
                  <a:cubicBezTo>
                    <a:pt x="117" y="97"/>
                    <a:pt x="117" y="97"/>
                    <a:pt x="117" y="97"/>
                  </a:cubicBezTo>
                  <a:cubicBezTo>
                    <a:pt x="119" y="97"/>
                    <a:pt x="120" y="96"/>
                    <a:pt x="120" y="94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20" y="2"/>
                    <a:pt x="119" y="0"/>
                    <a:pt x="11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63">
              <a:extLst>
                <a:ext uri="{FF2B5EF4-FFF2-40B4-BE49-F238E27FC236}">
                  <a16:creationId xmlns:a16="http://schemas.microsoft.com/office/drawing/2014/main" xmlns="" id="{8D8823CC-D40C-4837-9456-0CCA3D22C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" y="2205"/>
              <a:ext cx="17" cy="15"/>
            </a:xfrm>
            <a:custGeom>
              <a:avLst/>
              <a:gdLst>
                <a:gd name="T0" fmla="*/ 5 w 8"/>
                <a:gd name="T1" fmla="*/ 0 h 7"/>
                <a:gd name="T2" fmla="*/ 2 w 8"/>
                <a:gd name="T3" fmla="*/ 0 h 7"/>
                <a:gd name="T4" fmla="*/ 0 w 8"/>
                <a:gd name="T5" fmla="*/ 2 h 7"/>
                <a:gd name="T6" fmla="*/ 0 w 8"/>
                <a:gd name="T7" fmla="*/ 4 h 7"/>
                <a:gd name="T8" fmla="*/ 2 w 8"/>
                <a:gd name="T9" fmla="*/ 7 h 7"/>
                <a:gd name="T10" fmla="*/ 5 w 8"/>
                <a:gd name="T11" fmla="*/ 7 h 7"/>
                <a:gd name="T12" fmla="*/ 8 w 8"/>
                <a:gd name="T13" fmla="*/ 4 h 7"/>
                <a:gd name="T14" fmla="*/ 8 w 8"/>
                <a:gd name="T15" fmla="*/ 2 h 7"/>
                <a:gd name="T16" fmla="*/ 5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1" y="7"/>
                    <a:pt x="2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7"/>
                    <a:pt x="8" y="6"/>
                    <a:pt x="8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7" y="0"/>
                    <a:pt x="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64">
              <a:extLst>
                <a:ext uri="{FF2B5EF4-FFF2-40B4-BE49-F238E27FC236}">
                  <a16:creationId xmlns:a16="http://schemas.microsoft.com/office/drawing/2014/main" xmlns="" id="{321BAC2A-ED02-49F1-87DC-55BE7E887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7" y="2205"/>
              <a:ext cx="19" cy="15"/>
            </a:xfrm>
            <a:custGeom>
              <a:avLst/>
              <a:gdLst>
                <a:gd name="T0" fmla="*/ 6 w 9"/>
                <a:gd name="T1" fmla="*/ 0 h 7"/>
                <a:gd name="T2" fmla="*/ 3 w 9"/>
                <a:gd name="T3" fmla="*/ 0 h 7"/>
                <a:gd name="T4" fmla="*/ 0 w 9"/>
                <a:gd name="T5" fmla="*/ 2 h 7"/>
                <a:gd name="T6" fmla="*/ 0 w 9"/>
                <a:gd name="T7" fmla="*/ 4 h 7"/>
                <a:gd name="T8" fmla="*/ 3 w 9"/>
                <a:gd name="T9" fmla="*/ 7 h 7"/>
                <a:gd name="T10" fmla="*/ 6 w 9"/>
                <a:gd name="T11" fmla="*/ 7 h 7"/>
                <a:gd name="T12" fmla="*/ 9 w 9"/>
                <a:gd name="T13" fmla="*/ 4 h 7"/>
                <a:gd name="T14" fmla="*/ 9 w 9"/>
                <a:gd name="T15" fmla="*/ 2 h 7"/>
                <a:gd name="T16" fmla="*/ 6 w 9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2" y="7"/>
                    <a:pt x="3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9" y="6"/>
                    <a:pt x="9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7" y="0"/>
                    <a:pt x="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65">
              <a:extLst>
                <a:ext uri="{FF2B5EF4-FFF2-40B4-BE49-F238E27FC236}">
                  <a16:creationId xmlns:a16="http://schemas.microsoft.com/office/drawing/2014/main" xmlns="" id="{9B83FB6A-7992-48C8-8F26-60DFD9FCB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" y="2205"/>
              <a:ext cx="17" cy="15"/>
            </a:xfrm>
            <a:custGeom>
              <a:avLst/>
              <a:gdLst>
                <a:gd name="T0" fmla="*/ 5 w 8"/>
                <a:gd name="T1" fmla="*/ 0 h 7"/>
                <a:gd name="T2" fmla="*/ 2 w 8"/>
                <a:gd name="T3" fmla="*/ 0 h 7"/>
                <a:gd name="T4" fmla="*/ 0 w 8"/>
                <a:gd name="T5" fmla="*/ 2 h 7"/>
                <a:gd name="T6" fmla="*/ 0 w 8"/>
                <a:gd name="T7" fmla="*/ 4 h 7"/>
                <a:gd name="T8" fmla="*/ 2 w 8"/>
                <a:gd name="T9" fmla="*/ 7 h 7"/>
                <a:gd name="T10" fmla="*/ 5 w 8"/>
                <a:gd name="T11" fmla="*/ 7 h 7"/>
                <a:gd name="T12" fmla="*/ 8 w 8"/>
                <a:gd name="T13" fmla="*/ 4 h 7"/>
                <a:gd name="T14" fmla="*/ 8 w 8"/>
                <a:gd name="T15" fmla="*/ 2 h 7"/>
                <a:gd name="T16" fmla="*/ 5 w 8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1" y="7"/>
                    <a:pt x="2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7"/>
                    <a:pt x="8" y="6"/>
                    <a:pt x="8" y="4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7" y="0"/>
                    <a:pt x="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0" name="Group 4">
            <a:extLst>
              <a:ext uri="{FF2B5EF4-FFF2-40B4-BE49-F238E27FC236}">
                <a16:creationId xmlns:a16="http://schemas.microsoft.com/office/drawing/2014/main" xmlns="" id="{A0087611-2A83-44E4-A8EE-9FFDAC3A139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32204" y="1438028"/>
            <a:ext cx="1395412" cy="762000"/>
            <a:chOff x="3397" y="1919"/>
            <a:chExt cx="879" cy="480"/>
          </a:xfrm>
          <a:solidFill>
            <a:schemeClr val="accent5">
              <a:lumMod val="60000"/>
              <a:lumOff val="40000"/>
              <a:alpha val="16000"/>
            </a:schemeClr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xmlns="" id="{24566773-6811-496F-B9CB-4720B36E6A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6" y="1919"/>
              <a:ext cx="239" cy="239"/>
            </a:xfrm>
            <a:custGeom>
              <a:avLst/>
              <a:gdLst>
                <a:gd name="T0" fmla="*/ 57 w 114"/>
                <a:gd name="T1" fmla="*/ 94 h 114"/>
                <a:gd name="T2" fmla="*/ 19 w 114"/>
                <a:gd name="T3" fmla="*/ 57 h 114"/>
                <a:gd name="T4" fmla="*/ 57 w 114"/>
                <a:gd name="T5" fmla="*/ 19 h 114"/>
                <a:gd name="T6" fmla="*/ 94 w 114"/>
                <a:gd name="T7" fmla="*/ 57 h 114"/>
                <a:gd name="T8" fmla="*/ 57 w 114"/>
                <a:gd name="T9" fmla="*/ 94 h 114"/>
                <a:gd name="T10" fmla="*/ 57 w 114"/>
                <a:gd name="T11" fmla="*/ 0 h 114"/>
                <a:gd name="T12" fmla="*/ 0 w 114"/>
                <a:gd name="T13" fmla="*/ 57 h 114"/>
                <a:gd name="T14" fmla="*/ 57 w 114"/>
                <a:gd name="T15" fmla="*/ 114 h 114"/>
                <a:gd name="T16" fmla="*/ 114 w 114"/>
                <a:gd name="T17" fmla="*/ 57 h 114"/>
                <a:gd name="T18" fmla="*/ 57 w 114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94"/>
                  </a:moveTo>
                  <a:cubicBezTo>
                    <a:pt x="36" y="94"/>
                    <a:pt x="19" y="77"/>
                    <a:pt x="19" y="57"/>
                  </a:cubicBezTo>
                  <a:cubicBezTo>
                    <a:pt x="19" y="36"/>
                    <a:pt x="36" y="19"/>
                    <a:pt x="57" y="19"/>
                  </a:cubicBezTo>
                  <a:cubicBezTo>
                    <a:pt x="77" y="19"/>
                    <a:pt x="94" y="36"/>
                    <a:pt x="94" y="57"/>
                  </a:cubicBezTo>
                  <a:cubicBezTo>
                    <a:pt x="94" y="77"/>
                    <a:pt x="77" y="94"/>
                    <a:pt x="57" y="94"/>
                  </a:cubicBezTo>
                  <a:moveTo>
                    <a:pt x="57" y="0"/>
                  </a:moveTo>
                  <a:cubicBezTo>
                    <a:pt x="25" y="0"/>
                    <a:pt x="0" y="25"/>
                    <a:pt x="0" y="57"/>
                  </a:cubicBezTo>
                  <a:cubicBezTo>
                    <a:pt x="0" y="88"/>
                    <a:pt x="25" y="114"/>
                    <a:pt x="57" y="114"/>
                  </a:cubicBezTo>
                  <a:cubicBezTo>
                    <a:pt x="88" y="114"/>
                    <a:pt x="114" y="88"/>
                    <a:pt x="114" y="57"/>
                  </a:cubicBezTo>
                  <a:cubicBezTo>
                    <a:pt x="114" y="25"/>
                    <a:pt x="88" y="0"/>
                    <a:pt x="5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xmlns="" id="{F06C9446-85E6-4FFA-A398-EA403CA136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7" y="2191"/>
              <a:ext cx="499" cy="208"/>
            </a:xfrm>
            <a:custGeom>
              <a:avLst/>
              <a:gdLst>
                <a:gd name="T0" fmla="*/ 27 w 239"/>
                <a:gd name="T1" fmla="*/ 79 h 99"/>
                <a:gd name="T2" fmla="*/ 52 w 239"/>
                <a:gd name="T3" fmla="*/ 20 h 99"/>
                <a:gd name="T4" fmla="*/ 187 w 239"/>
                <a:gd name="T5" fmla="*/ 20 h 99"/>
                <a:gd name="T6" fmla="*/ 212 w 239"/>
                <a:gd name="T7" fmla="*/ 79 h 99"/>
                <a:gd name="T8" fmla="*/ 27 w 239"/>
                <a:gd name="T9" fmla="*/ 79 h 99"/>
                <a:gd name="T10" fmla="*/ 195 w 239"/>
                <a:gd name="T11" fmla="*/ 0 h 99"/>
                <a:gd name="T12" fmla="*/ 44 w 239"/>
                <a:gd name="T13" fmla="*/ 0 h 99"/>
                <a:gd name="T14" fmla="*/ 37 w 239"/>
                <a:gd name="T15" fmla="*/ 5 h 99"/>
                <a:gd name="T16" fmla="*/ 2 w 239"/>
                <a:gd name="T17" fmla="*/ 89 h 99"/>
                <a:gd name="T18" fmla="*/ 9 w 239"/>
                <a:gd name="T19" fmla="*/ 99 h 99"/>
                <a:gd name="T20" fmla="*/ 230 w 239"/>
                <a:gd name="T21" fmla="*/ 99 h 99"/>
                <a:gd name="T22" fmla="*/ 237 w 239"/>
                <a:gd name="T23" fmla="*/ 89 h 99"/>
                <a:gd name="T24" fmla="*/ 202 w 239"/>
                <a:gd name="T25" fmla="*/ 5 h 99"/>
                <a:gd name="T26" fmla="*/ 195 w 239"/>
                <a:gd name="T2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9" h="99">
                  <a:moveTo>
                    <a:pt x="27" y="79"/>
                  </a:moveTo>
                  <a:cubicBezTo>
                    <a:pt x="52" y="20"/>
                    <a:pt x="52" y="20"/>
                    <a:pt x="52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212" y="79"/>
                    <a:pt x="212" y="79"/>
                    <a:pt x="212" y="79"/>
                  </a:cubicBezTo>
                  <a:cubicBezTo>
                    <a:pt x="27" y="79"/>
                    <a:pt x="27" y="79"/>
                    <a:pt x="27" y="79"/>
                  </a:cubicBezTo>
                  <a:moveTo>
                    <a:pt x="195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1" y="0"/>
                    <a:pt x="38" y="2"/>
                    <a:pt x="37" y="5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0" y="94"/>
                    <a:pt x="4" y="99"/>
                    <a:pt x="9" y="99"/>
                  </a:cubicBezTo>
                  <a:cubicBezTo>
                    <a:pt x="230" y="99"/>
                    <a:pt x="230" y="99"/>
                    <a:pt x="230" y="99"/>
                  </a:cubicBezTo>
                  <a:cubicBezTo>
                    <a:pt x="235" y="99"/>
                    <a:pt x="239" y="94"/>
                    <a:pt x="237" y="89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201" y="2"/>
                    <a:pt x="198" y="0"/>
                    <a:pt x="19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xmlns="" id="{2607AE85-43ED-4AC6-AC7B-ED6261887F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4" y="1919"/>
              <a:ext cx="239" cy="239"/>
            </a:xfrm>
            <a:custGeom>
              <a:avLst/>
              <a:gdLst>
                <a:gd name="T0" fmla="*/ 57 w 114"/>
                <a:gd name="T1" fmla="*/ 94 h 114"/>
                <a:gd name="T2" fmla="*/ 20 w 114"/>
                <a:gd name="T3" fmla="*/ 57 h 114"/>
                <a:gd name="T4" fmla="*/ 57 w 114"/>
                <a:gd name="T5" fmla="*/ 19 h 114"/>
                <a:gd name="T6" fmla="*/ 95 w 114"/>
                <a:gd name="T7" fmla="*/ 57 h 114"/>
                <a:gd name="T8" fmla="*/ 57 w 114"/>
                <a:gd name="T9" fmla="*/ 94 h 114"/>
                <a:gd name="T10" fmla="*/ 57 w 114"/>
                <a:gd name="T11" fmla="*/ 0 h 114"/>
                <a:gd name="T12" fmla="*/ 0 w 114"/>
                <a:gd name="T13" fmla="*/ 57 h 114"/>
                <a:gd name="T14" fmla="*/ 57 w 114"/>
                <a:gd name="T15" fmla="*/ 114 h 114"/>
                <a:gd name="T16" fmla="*/ 114 w 114"/>
                <a:gd name="T17" fmla="*/ 57 h 114"/>
                <a:gd name="T18" fmla="*/ 57 w 114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94"/>
                  </a:moveTo>
                  <a:cubicBezTo>
                    <a:pt x="37" y="94"/>
                    <a:pt x="20" y="77"/>
                    <a:pt x="20" y="57"/>
                  </a:cubicBezTo>
                  <a:cubicBezTo>
                    <a:pt x="20" y="36"/>
                    <a:pt x="37" y="19"/>
                    <a:pt x="57" y="19"/>
                  </a:cubicBezTo>
                  <a:cubicBezTo>
                    <a:pt x="78" y="19"/>
                    <a:pt x="95" y="36"/>
                    <a:pt x="95" y="57"/>
                  </a:cubicBezTo>
                  <a:cubicBezTo>
                    <a:pt x="95" y="77"/>
                    <a:pt x="78" y="94"/>
                    <a:pt x="57" y="94"/>
                  </a:cubicBezTo>
                  <a:moveTo>
                    <a:pt x="57" y="0"/>
                  </a:moveTo>
                  <a:cubicBezTo>
                    <a:pt x="26" y="0"/>
                    <a:pt x="0" y="25"/>
                    <a:pt x="0" y="57"/>
                  </a:cubicBezTo>
                  <a:cubicBezTo>
                    <a:pt x="0" y="88"/>
                    <a:pt x="26" y="114"/>
                    <a:pt x="57" y="114"/>
                  </a:cubicBezTo>
                  <a:cubicBezTo>
                    <a:pt x="89" y="114"/>
                    <a:pt x="114" y="88"/>
                    <a:pt x="114" y="57"/>
                  </a:cubicBezTo>
                  <a:cubicBezTo>
                    <a:pt x="114" y="25"/>
                    <a:pt x="89" y="0"/>
                    <a:pt x="5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xmlns="" id="{8B4D552C-87FE-42D9-9575-941DA748A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" y="2191"/>
              <a:ext cx="405" cy="208"/>
            </a:xfrm>
            <a:custGeom>
              <a:avLst/>
              <a:gdLst>
                <a:gd name="T0" fmla="*/ 150 w 194"/>
                <a:gd name="T1" fmla="*/ 0 h 99"/>
                <a:gd name="T2" fmla="*/ 0 w 194"/>
                <a:gd name="T3" fmla="*/ 0 h 99"/>
                <a:gd name="T4" fmla="*/ 8 w 194"/>
                <a:gd name="T5" fmla="*/ 20 h 99"/>
                <a:gd name="T6" fmla="*/ 142 w 194"/>
                <a:gd name="T7" fmla="*/ 20 h 99"/>
                <a:gd name="T8" fmla="*/ 167 w 194"/>
                <a:gd name="T9" fmla="*/ 79 h 99"/>
                <a:gd name="T10" fmla="*/ 33 w 194"/>
                <a:gd name="T11" fmla="*/ 79 h 99"/>
                <a:gd name="T12" fmla="*/ 41 w 194"/>
                <a:gd name="T13" fmla="*/ 99 h 99"/>
                <a:gd name="T14" fmla="*/ 185 w 194"/>
                <a:gd name="T15" fmla="*/ 99 h 99"/>
                <a:gd name="T16" fmla="*/ 192 w 194"/>
                <a:gd name="T17" fmla="*/ 89 h 99"/>
                <a:gd name="T18" fmla="*/ 157 w 194"/>
                <a:gd name="T19" fmla="*/ 5 h 99"/>
                <a:gd name="T20" fmla="*/ 150 w 194"/>
                <a:gd name="T2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4" h="99">
                  <a:moveTo>
                    <a:pt x="15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41" y="99"/>
                    <a:pt x="41" y="99"/>
                    <a:pt x="41" y="99"/>
                  </a:cubicBezTo>
                  <a:cubicBezTo>
                    <a:pt x="185" y="99"/>
                    <a:pt x="185" y="99"/>
                    <a:pt x="185" y="99"/>
                  </a:cubicBezTo>
                  <a:cubicBezTo>
                    <a:pt x="190" y="99"/>
                    <a:pt x="194" y="94"/>
                    <a:pt x="192" y="89"/>
                  </a:cubicBezTo>
                  <a:cubicBezTo>
                    <a:pt x="157" y="5"/>
                    <a:pt x="157" y="5"/>
                    <a:pt x="157" y="5"/>
                  </a:cubicBezTo>
                  <a:cubicBezTo>
                    <a:pt x="156" y="2"/>
                    <a:pt x="153" y="0"/>
                    <a:pt x="15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5" name="Group 11">
            <a:extLst>
              <a:ext uri="{FF2B5EF4-FFF2-40B4-BE49-F238E27FC236}">
                <a16:creationId xmlns:a16="http://schemas.microsoft.com/office/drawing/2014/main" xmlns="" id="{1665575E-466D-485D-BACA-DDCD3A56510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2345" y="1188790"/>
            <a:ext cx="1639887" cy="1187450"/>
            <a:chOff x="3321" y="1787"/>
            <a:chExt cx="1033" cy="748"/>
          </a:xfrm>
          <a:solidFill>
            <a:schemeClr val="bg1">
              <a:lumMod val="75000"/>
              <a:alpha val="16000"/>
            </a:schemeClr>
          </a:solidFill>
        </p:grpSpPr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xmlns="" id="{B8673D1E-69DC-40C8-B625-F238C4D94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" y="1871"/>
              <a:ext cx="56" cy="52"/>
            </a:xfrm>
            <a:custGeom>
              <a:avLst/>
              <a:gdLst>
                <a:gd name="T0" fmla="*/ 18 w 27"/>
                <a:gd name="T1" fmla="*/ 0 h 25"/>
                <a:gd name="T2" fmla="*/ 9 w 27"/>
                <a:gd name="T3" fmla="*/ 0 h 25"/>
                <a:gd name="T4" fmla="*/ 0 w 27"/>
                <a:gd name="T5" fmla="*/ 9 h 25"/>
                <a:gd name="T6" fmla="*/ 0 w 27"/>
                <a:gd name="T7" fmla="*/ 15 h 25"/>
                <a:gd name="T8" fmla="*/ 9 w 27"/>
                <a:gd name="T9" fmla="*/ 25 h 25"/>
                <a:gd name="T10" fmla="*/ 18 w 27"/>
                <a:gd name="T11" fmla="*/ 25 h 25"/>
                <a:gd name="T12" fmla="*/ 27 w 27"/>
                <a:gd name="T13" fmla="*/ 15 h 25"/>
                <a:gd name="T14" fmla="*/ 27 w 27"/>
                <a:gd name="T15" fmla="*/ 9 h 25"/>
                <a:gd name="T16" fmla="*/ 18 w 27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5">
                  <a:moveTo>
                    <a:pt x="1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0"/>
                    <a:pt x="4" y="25"/>
                    <a:pt x="9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25"/>
                    <a:pt x="27" y="20"/>
                    <a:pt x="27" y="1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4"/>
                    <a:pt x="23" y="0"/>
                    <a:pt x="1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xmlns="" id="{B59246B6-FBEA-4210-BE47-263D73DBC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1871"/>
              <a:ext cx="56" cy="52"/>
            </a:xfrm>
            <a:custGeom>
              <a:avLst/>
              <a:gdLst>
                <a:gd name="T0" fmla="*/ 18 w 27"/>
                <a:gd name="T1" fmla="*/ 0 h 25"/>
                <a:gd name="T2" fmla="*/ 9 w 27"/>
                <a:gd name="T3" fmla="*/ 0 h 25"/>
                <a:gd name="T4" fmla="*/ 0 w 27"/>
                <a:gd name="T5" fmla="*/ 9 h 25"/>
                <a:gd name="T6" fmla="*/ 0 w 27"/>
                <a:gd name="T7" fmla="*/ 15 h 25"/>
                <a:gd name="T8" fmla="*/ 9 w 27"/>
                <a:gd name="T9" fmla="*/ 25 h 25"/>
                <a:gd name="T10" fmla="*/ 18 w 27"/>
                <a:gd name="T11" fmla="*/ 25 h 25"/>
                <a:gd name="T12" fmla="*/ 27 w 27"/>
                <a:gd name="T13" fmla="*/ 15 h 25"/>
                <a:gd name="T14" fmla="*/ 27 w 27"/>
                <a:gd name="T15" fmla="*/ 9 h 25"/>
                <a:gd name="T16" fmla="*/ 18 w 27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5">
                  <a:moveTo>
                    <a:pt x="1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0"/>
                    <a:pt x="4" y="25"/>
                    <a:pt x="9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25"/>
                    <a:pt x="27" y="20"/>
                    <a:pt x="27" y="1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4"/>
                    <a:pt x="23" y="0"/>
                    <a:pt x="1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xmlns="" id="{FBE98AB9-153B-4DBE-B0FC-63C357A70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" y="1871"/>
              <a:ext cx="56" cy="52"/>
            </a:xfrm>
            <a:custGeom>
              <a:avLst/>
              <a:gdLst>
                <a:gd name="T0" fmla="*/ 18 w 27"/>
                <a:gd name="T1" fmla="*/ 0 h 25"/>
                <a:gd name="T2" fmla="*/ 9 w 27"/>
                <a:gd name="T3" fmla="*/ 0 h 25"/>
                <a:gd name="T4" fmla="*/ 0 w 27"/>
                <a:gd name="T5" fmla="*/ 9 h 25"/>
                <a:gd name="T6" fmla="*/ 0 w 27"/>
                <a:gd name="T7" fmla="*/ 15 h 25"/>
                <a:gd name="T8" fmla="*/ 9 w 27"/>
                <a:gd name="T9" fmla="*/ 25 h 25"/>
                <a:gd name="T10" fmla="*/ 18 w 27"/>
                <a:gd name="T11" fmla="*/ 25 h 25"/>
                <a:gd name="T12" fmla="*/ 27 w 27"/>
                <a:gd name="T13" fmla="*/ 15 h 25"/>
                <a:gd name="T14" fmla="*/ 27 w 27"/>
                <a:gd name="T15" fmla="*/ 9 h 25"/>
                <a:gd name="T16" fmla="*/ 18 w 27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5">
                  <a:moveTo>
                    <a:pt x="1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0"/>
                    <a:pt x="4" y="25"/>
                    <a:pt x="9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3" y="25"/>
                    <a:pt x="27" y="20"/>
                    <a:pt x="27" y="15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4"/>
                    <a:pt x="23" y="0"/>
                    <a:pt x="1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xmlns="" id="{3F1F01ED-E67D-4C61-96D4-790278363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" y="2088"/>
              <a:ext cx="332" cy="48"/>
            </a:xfrm>
            <a:custGeom>
              <a:avLst/>
              <a:gdLst>
                <a:gd name="T0" fmla="*/ 149 w 159"/>
                <a:gd name="T1" fmla="*/ 0 h 23"/>
                <a:gd name="T2" fmla="*/ 9 w 159"/>
                <a:gd name="T3" fmla="*/ 0 h 23"/>
                <a:gd name="T4" fmla="*/ 0 w 159"/>
                <a:gd name="T5" fmla="*/ 9 h 23"/>
                <a:gd name="T6" fmla="*/ 0 w 159"/>
                <a:gd name="T7" fmla="*/ 14 h 23"/>
                <a:gd name="T8" fmla="*/ 9 w 159"/>
                <a:gd name="T9" fmla="*/ 23 h 23"/>
                <a:gd name="T10" fmla="*/ 149 w 159"/>
                <a:gd name="T11" fmla="*/ 23 h 23"/>
                <a:gd name="T12" fmla="*/ 159 w 159"/>
                <a:gd name="T13" fmla="*/ 14 h 23"/>
                <a:gd name="T14" fmla="*/ 159 w 159"/>
                <a:gd name="T15" fmla="*/ 9 h 23"/>
                <a:gd name="T16" fmla="*/ 149 w 159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23">
                  <a:moveTo>
                    <a:pt x="14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9"/>
                    <a:pt x="4" y="23"/>
                    <a:pt x="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55" y="23"/>
                    <a:pt x="159" y="19"/>
                    <a:pt x="159" y="14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4"/>
                    <a:pt x="155" y="0"/>
                    <a:pt x="14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xmlns="" id="{836EA3C5-1C02-42D6-B3C3-4AC6928F8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" y="2184"/>
              <a:ext cx="204" cy="48"/>
            </a:xfrm>
            <a:custGeom>
              <a:avLst/>
              <a:gdLst>
                <a:gd name="T0" fmla="*/ 88 w 98"/>
                <a:gd name="T1" fmla="*/ 0 h 23"/>
                <a:gd name="T2" fmla="*/ 9 w 98"/>
                <a:gd name="T3" fmla="*/ 0 h 23"/>
                <a:gd name="T4" fmla="*/ 0 w 98"/>
                <a:gd name="T5" fmla="*/ 9 h 23"/>
                <a:gd name="T6" fmla="*/ 0 w 98"/>
                <a:gd name="T7" fmla="*/ 14 h 23"/>
                <a:gd name="T8" fmla="*/ 9 w 98"/>
                <a:gd name="T9" fmla="*/ 23 h 23"/>
                <a:gd name="T10" fmla="*/ 88 w 98"/>
                <a:gd name="T11" fmla="*/ 23 h 23"/>
                <a:gd name="T12" fmla="*/ 98 w 98"/>
                <a:gd name="T13" fmla="*/ 14 h 23"/>
                <a:gd name="T14" fmla="*/ 98 w 98"/>
                <a:gd name="T15" fmla="*/ 9 h 23"/>
                <a:gd name="T16" fmla="*/ 88 w 98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23">
                  <a:moveTo>
                    <a:pt x="8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9"/>
                    <a:pt x="4" y="23"/>
                    <a:pt x="9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93" y="23"/>
                    <a:pt x="98" y="19"/>
                    <a:pt x="98" y="14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4"/>
                    <a:pt x="93" y="0"/>
                    <a:pt x="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xmlns="" id="{629DF379-E1DA-44DB-A5BE-7069F05DD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" y="2280"/>
              <a:ext cx="204" cy="48"/>
            </a:xfrm>
            <a:custGeom>
              <a:avLst/>
              <a:gdLst>
                <a:gd name="T0" fmla="*/ 88 w 98"/>
                <a:gd name="T1" fmla="*/ 0 h 23"/>
                <a:gd name="T2" fmla="*/ 9 w 98"/>
                <a:gd name="T3" fmla="*/ 0 h 23"/>
                <a:gd name="T4" fmla="*/ 0 w 98"/>
                <a:gd name="T5" fmla="*/ 10 h 23"/>
                <a:gd name="T6" fmla="*/ 0 w 98"/>
                <a:gd name="T7" fmla="*/ 14 h 23"/>
                <a:gd name="T8" fmla="*/ 9 w 98"/>
                <a:gd name="T9" fmla="*/ 23 h 23"/>
                <a:gd name="T10" fmla="*/ 88 w 98"/>
                <a:gd name="T11" fmla="*/ 23 h 23"/>
                <a:gd name="T12" fmla="*/ 98 w 98"/>
                <a:gd name="T13" fmla="*/ 14 h 23"/>
                <a:gd name="T14" fmla="*/ 98 w 98"/>
                <a:gd name="T15" fmla="*/ 10 h 23"/>
                <a:gd name="T16" fmla="*/ 88 w 98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23">
                  <a:moveTo>
                    <a:pt x="8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9"/>
                    <a:pt x="4" y="23"/>
                    <a:pt x="9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93" y="23"/>
                    <a:pt x="98" y="19"/>
                    <a:pt x="98" y="14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5"/>
                    <a:pt x="93" y="0"/>
                    <a:pt x="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xmlns="" id="{7134F087-227F-4D5A-95AC-BBEBA73F54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" y="1787"/>
              <a:ext cx="1033" cy="748"/>
            </a:xfrm>
            <a:custGeom>
              <a:avLst/>
              <a:gdLst>
                <a:gd name="T0" fmla="*/ 192 w 495"/>
                <a:gd name="T1" fmla="*/ 331 h 358"/>
                <a:gd name="T2" fmla="*/ 234 w 495"/>
                <a:gd name="T3" fmla="*/ 273 h 358"/>
                <a:gd name="T4" fmla="*/ 234 w 495"/>
                <a:gd name="T5" fmla="*/ 273 h 358"/>
                <a:gd name="T6" fmla="*/ 263 w 495"/>
                <a:gd name="T7" fmla="*/ 323 h 358"/>
                <a:gd name="T8" fmla="*/ 263 w 495"/>
                <a:gd name="T9" fmla="*/ 323 h 358"/>
                <a:gd name="T10" fmla="*/ 192 w 495"/>
                <a:gd name="T11" fmla="*/ 331 h 358"/>
                <a:gd name="T12" fmla="*/ 283 w 495"/>
                <a:gd name="T13" fmla="*/ 312 h 358"/>
                <a:gd name="T14" fmla="*/ 254 w 495"/>
                <a:gd name="T15" fmla="*/ 262 h 358"/>
                <a:gd name="T16" fmla="*/ 436 w 495"/>
                <a:gd name="T17" fmla="*/ 157 h 358"/>
                <a:gd name="T18" fmla="*/ 465 w 495"/>
                <a:gd name="T19" fmla="*/ 206 h 358"/>
                <a:gd name="T20" fmla="*/ 283 w 495"/>
                <a:gd name="T21" fmla="*/ 312 h 358"/>
                <a:gd name="T22" fmla="*/ 25 w 495"/>
                <a:gd name="T23" fmla="*/ 294 h 358"/>
                <a:gd name="T24" fmla="*/ 25 w 495"/>
                <a:gd name="T25" fmla="*/ 106 h 358"/>
                <a:gd name="T26" fmla="*/ 371 w 495"/>
                <a:gd name="T27" fmla="*/ 106 h 358"/>
                <a:gd name="T28" fmla="*/ 371 w 495"/>
                <a:gd name="T29" fmla="*/ 168 h 358"/>
                <a:gd name="T30" fmla="*/ 220 w 495"/>
                <a:gd name="T31" fmla="*/ 255 h 358"/>
                <a:gd name="T32" fmla="*/ 217 w 495"/>
                <a:gd name="T33" fmla="*/ 257 h 358"/>
                <a:gd name="T34" fmla="*/ 190 w 495"/>
                <a:gd name="T35" fmla="*/ 294 h 358"/>
                <a:gd name="T36" fmla="*/ 25 w 495"/>
                <a:gd name="T37" fmla="*/ 294 h 358"/>
                <a:gd name="T38" fmla="*/ 25 w 495"/>
                <a:gd name="T39" fmla="*/ 82 h 358"/>
                <a:gd name="T40" fmla="*/ 25 w 495"/>
                <a:gd name="T41" fmla="*/ 24 h 358"/>
                <a:gd name="T42" fmla="*/ 371 w 495"/>
                <a:gd name="T43" fmla="*/ 24 h 358"/>
                <a:gd name="T44" fmla="*/ 371 w 495"/>
                <a:gd name="T45" fmla="*/ 82 h 358"/>
                <a:gd name="T46" fmla="*/ 25 w 495"/>
                <a:gd name="T47" fmla="*/ 82 h 358"/>
                <a:gd name="T48" fmla="*/ 386 w 495"/>
                <a:gd name="T49" fmla="*/ 0 h 358"/>
                <a:gd name="T50" fmla="*/ 9 w 495"/>
                <a:gd name="T51" fmla="*/ 0 h 358"/>
                <a:gd name="T52" fmla="*/ 0 w 495"/>
                <a:gd name="T53" fmla="*/ 9 h 358"/>
                <a:gd name="T54" fmla="*/ 0 w 495"/>
                <a:gd name="T55" fmla="*/ 309 h 358"/>
                <a:gd name="T56" fmla="*/ 9 w 495"/>
                <a:gd name="T57" fmla="*/ 318 h 358"/>
                <a:gd name="T58" fmla="*/ 172 w 495"/>
                <a:gd name="T59" fmla="*/ 318 h 358"/>
                <a:gd name="T60" fmla="*/ 154 w 495"/>
                <a:gd name="T61" fmla="*/ 344 h 358"/>
                <a:gd name="T62" fmla="*/ 161 w 495"/>
                <a:gd name="T63" fmla="*/ 358 h 358"/>
                <a:gd name="T64" fmla="*/ 162 w 495"/>
                <a:gd name="T65" fmla="*/ 358 h 358"/>
                <a:gd name="T66" fmla="*/ 268 w 495"/>
                <a:gd name="T67" fmla="*/ 346 h 358"/>
                <a:gd name="T68" fmla="*/ 272 w 495"/>
                <a:gd name="T69" fmla="*/ 345 h 358"/>
                <a:gd name="T70" fmla="*/ 489 w 495"/>
                <a:gd name="T71" fmla="*/ 219 h 358"/>
                <a:gd name="T72" fmla="*/ 492 w 495"/>
                <a:gd name="T73" fmla="*/ 207 h 358"/>
                <a:gd name="T74" fmla="*/ 449 w 495"/>
                <a:gd name="T75" fmla="*/ 133 h 358"/>
                <a:gd name="T76" fmla="*/ 442 w 495"/>
                <a:gd name="T77" fmla="*/ 128 h 358"/>
                <a:gd name="T78" fmla="*/ 437 w 495"/>
                <a:gd name="T79" fmla="*/ 130 h 358"/>
                <a:gd name="T80" fmla="*/ 396 w 495"/>
                <a:gd name="T81" fmla="*/ 154 h 358"/>
                <a:gd name="T82" fmla="*/ 396 w 495"/>
                <a:gd name="T83" fmla="*/ 9 h 358"/>
                <a:gd name="T84" fmla="*/ 386 w 495"/>
                <a:gd name="T85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5" h="358">
                  <a:moveTo>
                    <a:pt x="192" y="331"/>
                  </a:moveTo>
                  <a:cubicBezTo>
                    <a:pt x="234" y="273"/>
                    <a:pt x="234" y="273"/>
                    <a:pt x="234" y="273"/>
                  </a:cubicBezTo>
                  <a:cubicBezTo>
                    <a:pt x="234" y="273"/>
                    <a:pt x="234" y="273"/>
                    <a:pt x="234" y="273"/>
                  </a:cubicBezTo>
                  <a:cubicBezTo>
                    <a:pt x="263" y="323"/>
                    <a:pt x="263" y="323"/>
                    <a:pt x="263" y="323"/>
                  </a:cubicBezTo>
                  <a:cubicBezTo>
                    <a:pt x="263" y="323"/>
                    <a:pt x="263" y="323"/>
                    <a:pt x="263" y="323"/>
                  </a:cubicBezTo>
                  <a:cubicBezTo>
                    <a:pt x="192" y="331"/>
                    <a:pt x="192" y="331"/>
                    <a:pt x="192" y="331"/>
                  </a:cubicBezTo>
                  <a:moveTo>
                    <a:pt x="283" y="312"/>
                  </a:moveTo>
                  <a:cubicBezTo>
                    <a:pt x="254" y="262"/>
                    <a:pt x="254" y="262"/>
                    <a:pt x="254" y="262"/>
                  </a:cubicBezTo>
                  <a:cubicBezTo>
                    <a:pt x="436" y="157"/>
                    <a:pt x="436" y="157"/>
                    <a:pt x="436" y="157"/>
                  </a:cubicBezTo>
                  <a:cubicBezTo>
                    <a:pt x="465" y="206"/>
                    <a:pt x="465" y="206"/>
                    <a:pt x="465" y="206"/>
                  </a:cubicBezTo>
                  <a:cubicBezTo>
                    <a:pt x="283" y="312"/>
                    <a:pt x="283" y="312"/>
                    <a:pt x="283" y="312"/>
                  </a:cubicBezTo>
                  <a:moveTo>
                    <a:pt x="25" y="294"/>
                  </a:moveTo>
                  <a:cubicBezTo>
                    <a:pt x="25" y="106"/>
                    <a:pt x="25" y="106"/>
                    <a:pt x="25" y="106"/>
                  </a:cubicBezTo>
                  <a:cubicBezTo>
                    <a:pt x="371" y="106"/>
                    <a:pt x="371" y="106"/>
                    <a:pt x="371" y="106"/>
                  </a:cubicBezTo>
                  <a:cubicBezTo>
                    <a:pt x="371" y="168"/>
                    <a:pt x="371" y="168"/>
                    <a:pt x="371" y="168"/>
                  </a:cubicBezTo>
                  <a:cubicBezTo>
                    <a:pt x="220" y="255"/>
                    <a:pt x="220" y="255"/>
                    <a:pt x="220" y="255"/>
                  </a:cubicBezTo>
                  <a:cubicBezTo>
                    <a:pt x="219" y="256"/>
                    <a:pt x="218" y="256"/>
                    <a:pt x="217" y="257"/>
                  </a:cubicBezTo>
                  <a:cubicBezTo>
                    <a:pt x="190" y="294"/>
                    <a:pt x="190" y="294"/>
                    <a:pt x="190" y="294"/>
                  </a:cubicBezTo>
                  <a:cubicBezTo>
                    <a:pt x="25" y="294"/>
                    <a:pt x="25" y="294"/>
                    <a:pt x="25" y="294"/>
                  </a:cubicBezTo>
                  <a:moveTo>
                    <a:pt x="25" y="82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371" y="24"/>
                    <a:pt x="371" y="24"/>
                    <a:pt x="371" y="24"/>
                  </a:cubicBezTo>
                  <a:cubicBezTo>
                    <a:pt x="371" y="82"/>
                    <a:pt x="371" y="82"/>
                    <a:pt x="371" y="82"/>
                  </a:cubicBezTo>
                  <a:cubicBezTo>
                    <a:pt x="25" y="82"/>
                    <a:pt x="25" y="82"/>
                    <a:pt x="25" y="82"/>
                  </a:cubicBezTo>
                  <a:moveTo>
                    <a:pt x="386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4"/>
                    <a:pt x="4" y="318"/>
                    <a:pt x="9" y="318"/>
                  </a:cubicBezTo>
                  <a:cubicBezTo>
                    <a:pt x="172" y="318"/>
                    <a:pt x="172" y="318"/>
                    <a:pt x="172" y="318"/>
                  </a:cubicBezTo>
                  <a:cubicBezTo>
                    <a:pt x="154" y="344"/>
                    <a:pt x="154" y="344"/>
                    <a:pt x="154" y="344"/>
                  </a:cubicBezTo>
                  <a:cubicBezTo>
                    <a:pt x="149" y="350"/>
                    <a:pt x="154" y="358"/>
                    <a:pt x="161" y="358"/>
                  </a:cubicBezTo>
                  <a:cubicBezTo>
                    <a:pt x="161" y="358"/>
                    <a:pt x="161" y="358"/>
                    <a:pt x="162" y="35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0" y="345"/>
                    <a:pt x="271" y="345"/>
                    <a:pt x="272" y="345"/>
                  </a:cubicBezTo>
                  <a:cubicBezTo>
                    <a:pt x="489" y="219"/>
                    <a:pt x="489" y="219"/>
                    <a:pt x="489" y="219"/>
                  </a:cubicBezTo>
                  <a:cubicBezTo>
                    <a:pt x="493" y="217"/>
                    <a:pt x="495" y="211"/>
                    <a:pt x="492" y="207"/>
                  </a:cubicBezTo>
                  <a:cubicBezTo>
                    <a:pt x="449" y="133"/>
                    <a:pt x="449" y="133"/>
                    <a:pt x="449" y="133"/>
                  </a:cubicBezTo>
                  <a:cubicBezTo>
                    <a:pt x="448" y="130"/>
                    <a:pt x="445" y="128"/>
                    <a:pt x="442" y="128"/>
                  </a:cubicBezTo>
                  <a:cubicBezTo>
                    <a:pt x="440" y="128"/>
                    <a:pt x="439" y="129"/>
                    <a:pt x="437" y="130"/>
                  </a:cubicBezTo>
                  <a:cubicBezTo>
                    <a:pt x="396" y="154"/>
                    <a:pt x="396" y="154"/>
                    <a:pt x="396" y="154"/>
                  </a:cubicBezTo>
                  <a:cubicBezTo>
                    <a:pt x="396" y="9"/>
                    <a:pt x="396" y="9"/>
                    <a:pt x="396" y="9"/>
                  </a:cubicBezTo>
                  <a:cubicBezTo>
                    <a:pt x="396" y="4"/>
                    <a:pt x="391" y="0"/>
                    <a:pt x="38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3" name="Group 35">
            <a:extLst>
              <a:ext uri="{FF2B5EF4-FFF2-40B4-BE49-F238E27FC236}">
                <a16:creationId xmlns:a16="http://schemas.microsoft.com/office/drawing/2014/main" xmlns="" id="{C21669C3-92F7-44D4-9F82-2D1C08CA6A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204364" y="3429000"/>
            <a:ext cx="1024881" cy="826566"/>
            <a:chOff x="3499" y="1889"/>
            <a:chExt cx="677" cy="546"/>
          </a:xfrm>
          <a:solidFill>
            <a:schemeClr val="bg1">
              <a:lumMod val="75000"/>
              <a:alpha val="16000"/>
            </a:schemeClr>
          </a:solidFill>
        </p:grpSpPr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xmlns="" id="{416E7631-EDC8-436B-9338-88CA99FF6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9" y="2046"/>
              <a:ext cx="132" cy="134"/>
            </a:xfrm>
            <a:custGeom>
              <a:avLst/>
              <a:gdLst>
                <a:gd name="T0" fmla="*/ 31 w 63"/>
                <a:gd name="T1" fmla="*/ 49 h 64"/>
                <a:gd name="T2" fmla="*/ 15 w 63"/>
                <a:gd name="T3" fmla="*/ 32 h 64"/>
                <a:gd name="T4" fmla="*/ 31 w 63"/>
                <a:gd name="T5" fmla="*/ 15 h 64"/>
                <a:gd name="T6" fmla="*/ 48 w 63"/>
                <a:gd name="T7" fmla="*/ 32 h 64"/>
                <a:gd name="T8" fmla="*/ 31 w 63"/>
                <a:gd name="T9" fmla="*/ 49 h 64"/>
                <a:gd name="T10" fmla="*/ 31 w 63"/>
                <a:gd name="T11" fmla="*/ 0 h 64"/>
                <a:gd name="T12" fmla="*/ 0 w 63"/>
                <a:gd name="T13" fmla="*/ 32 h 64"/>
                <a:gd name="T14" fmla="*/ 31 w 63"/>
                <a:gd name="T15" fmla="*/ 64 h 64"/>
                <a:gd name="T16" fmla="*/ 63 w 63"/>
                <a:gd name="T17" fmla="*/ 32 h 64"/>
                <a:gd name="T18" fmla="*/ 31 w 63"/>
                <a:gd name="T1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64">
                  <a:moveTo>
                    <a:pt x="31" y="49"/>
                  </a:moveTo>
                  <a:cubicBezTo>
                    <a:pt x="22" y="49"/>
                    <a:pt x="15" y="41"/>
                    <a:pt x="15" y="32"/>
                  </a:cubicBezTo>
                  <a:cubicBezTo>
                    <a:pt x="15" y="23"/>
                    <a:pt x="22" y="15"/>
                    <a:pt x="31" y="15"/>
                  </a:cubicBezTo>
                  <a:cubicBezTo>
                    <a:pt x="40" y="15"/>
                    <a:pt x="48" y="23"/>
                    <a:pt x="48" y="32"/>
                  </a:cubicBezTo>
                  <a:cubicBezTo>
                    <a:pt x="48" y="41"/>
                    <a:pt x="40" y="49"/>
                    <a:pt x="31" y="49"/>
                  </a:cubicBezTo>
                  <a:moveTo>
                    <a:pt x="31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4"/>
                    <a:pt x="31" y="64"/>
                  </a:cubicBezTo>
                  <a:cubicBezTo>
                    <a:pt x="49" y="64"/>
                    <a:pt x="63" y="50"/>
                    <a:pt x="63" y="32"/>
                  </a:cubicBezTo>
                  <a:cubicBezTo>
                    <a:pt x="63" y="14"/>
                    <a:pt x="49" y="0"/>
                    <a:pt x="3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7">
              <a:extLst>
                <a:ext uri="{FF2B5EF4-FFF2-40B4-BE49-F238E27FC236}">
                  <a16:creationId xmlns:a16="http://schemas.microsoft.com/office/drawing/2014/main" xmlns="" id="{8968DEDE-5B20-449D-9E76-8DB5291FB1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9" y="2333"/>
              <a:ext cx="648" cy="102"/>
            </a:xfrm>
            <a:custGeom>
              <a:avLst/>
              <a:gdLst>
                <a:gd name="T0" fmla="*/ 31 w 309"/>
                <a:gd name="T1" fmla="*/ 34 h 49"/>
                <a:gd name="T2" fmla="*/ 15 w 309"/>
                <a:gd name="T3" fmla="*/ 18 h 49"/>
                <a:gd name="T4" fmla="*/ 15 w 309"/>
                <a:gd name="T5" fmla="*/ 15 h 49"/>
                <a:gd name="T6" fmla="*/ 17 w 309"/>
                <a:gd name="T7" fmla="*/ 15 h 49"/>
                <a:gd name="T8" fmla="*/ 294 w 309"/>
                <a:gd name="T9" fmla="*/ 15 h 49"/>
                <a:gd name="T10" fmla="*/ 294 w 309"/>
                <a:gd name="T11" fmla="*/ 18 h 49"/>
                <a:gd name="T12" fmla="*/ 279 w 309"/>
                <a:gd name="T13" fmla="*/ 34 h 49"/>
                <a:gd name="T14" fmla="*/ 31 w 309"/>
                <a:gd name="T15" fmla="*/ 34 h 49"/>
                <a:gd name="T16" fmla="*/ 304 w 309"/>
                <a:gd name="T17" fmla="*/ 0 h 49"/>
                <a:gd name="T18" fmla="*/ 5 w 309"/>
                <a:gd name="T19" fmla="*/ 0 h 49"/>
                <a:gd name="T20" fmla="*/ 0 w 309"/>
                <a:gd name="T21" fmla="*/ 5 h 49"/>
                <a:gd name="T22" fmla="*/ 0 w 309"/>
                <a:gd name="T23" fmla="*/ 14 h 49"/>
                <a:gd name="T24" fmla="*/ 34 w 309"/>
                <a:gd name="T25" fmla="*/ 49 h 49"/>
                <a:gd name="T26" fmla="*/ 275 w 309"/>
                <a:gd name="T27" fmla="*/ 49 h 49"/>
                <a:gd name="T28" fmla="*/ 309 w 309"/>
                <a:gd name="T29" fmla="*/ 14 h 49"/>
                <a:gd name="T30" fmla="*/ 309 w 309"/>
                <a:gd name="T31" fmla="*/ 5 h 49"/>
                <a:gd name="T32" fmla="*/ 304 w 309"/>
                <a:gd name="T3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9" h="49">
                  <a:moveTo>
                    <a:pt x="31" y="34"/>
                  </a:moveTo>
                  <a:cubicBezTo>
                    <a:pt x="22" y="34"/>
                    <a:pt x="15" y="27"/>
                    <a:pt x="15" y="18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294" y="15"/>
                    <a:pt x="294" y="15"/>
                    <a:pt x="294" y="15"/>
                  </a:cubicBezTo>
                  <a:cubicBezTo>
                    <a:pt x="294" y="18"/>
                    <a:pt x="294" y="18"/>
                    <a:pt x="294" y="18"/>
                  </a:cubicBezTo>
                  <a:cubicBezTo>
                    <a:pt x="294" y="27"/>
                    <a:pt x="287" y="34"/>
                    <a:pt x="279" y="34"/>
                  </a:cubicBezTo>
                  <a:cubicBezTo>
                    <a:pt x="31" y="34"/>
                    <a:pt x="31" y="34"/>
                    <a:pt x="31" y="34"/>
                  </a:cubicBezTo>
                  <a:moveTo>
                    <a:pt x="30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3"/>
                    <a:pt x="15" y="49"/>
                    <a:pt x="34" y="49"/>
                  </a:cubicBezTo>
                  <a:cubicBezTo>
                    <a:pt x="275" y="49"/>
                    <a:pt x="275" y="49"/>
                    <a:pt x="275" y="49"/>
                  </a:cubicBezTo>
                  <a:cubicBezTo>
                    <a:pt x="294" y="49"/>
                    <a:pt x="309" y="33"/>
                    <a:pt x="309" y="14"/>
                  </a:cubicBezTo>
                  <a:cubicBezTo>
                    <a:pt x="309" y="5"/>
                    <a:pt x="309" y="5"/>
                    <a:pt x="309" y="5"/>
                  </a:cubicBezTo>
                  <a:cubicBezTo>
                    <a:pt x="309" y="2"/>
                    <a:pt x="307" y="0"/>
                    <a:pt x="30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xmlns="" id="{40E52AC7-474A-45C4-875B-25ACB22120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9" y="1889"/>
              <a:ext cx="637" cy="410"/>
            </a:xfrm>
            <a:custGeom>
              <a:avLst/>
              <a:gdLst>
                <a:gd name="T0" fmla="*/ 155 w 304"/>
                <a:gd name="T1" fmla="*/ 100 h 196"/>
                <a:gd name="T2" fmla="*/ 155 w 304"/>
                <a:gd name="T3" fmla="*/ 16 h 196"/>
                <a:gd name="T4" fmla="*/ 289 w 304"/>
                <a:gd name="T5" fmla="*/ 16 h 196"/>
                <a:gd name="T6" fmla="*/ 289 w 304"/>
                <a:gd name="T7" fmla="*/ 100 h 196"/>
                <a:gd name="T8" fmla="*/ 230 w 304"/>
                <a:gd name="T9" fmla="*/ 100 h 196"/>
                <a:gd name="T10" fmla="*/ 185 w 304"/>
                <a:gd name="T11" fmla="*/ 139 h 196"/>
                <a:gd name="T12" fmla="*/ 185 w 304"/>
                <a:gd name="T13" fmla="*/ 100 h 196"/>
                <a:gd name="T14" fmla="*/ 155 w 304"/>
                <a:gd name="T15" fmla="*/ 100 h 196"/>
                <a:gd name="T16" fmla="*/ 299 w 304"/>
                <a:gd name="T17" fmla="*/ 0 h 196"/>
                <a:gd name="T18" fmla="*/ 145 w 304"/>
                <a:gd name="T19" fmla="*/ 0 h 196"/>
                <a:gd name="T20" fmla="*/ 140 w 304"/>
                <a:gd name="T21" fmla="*/ 6 h 196"/>
                <a:gd name="T22" fmla="*/ 140 w 304"/>
                <a:gd name="T23" fmla="*/ 34 h 196"/>
                <a:gd name="T24" fmla="*/ 5 w 304"/>
                <a:gd name="T25" fmla="*/ 34 h 196"/>
                <a:gd name="T26" fmla="*/ 0 w 304"/>
                <a:gd name="T27" fmla="*/ 40 h 196"/>
                <a:gd name="T28" fmla="*/ 0 w 304"/>
                <a:gd name="T29" fmla="*/ 196 h 196"/>
                <a:gd name="T30" fmla="*/ 16 w 304"/>
                <a:gd name="T31" fmla="*/ 196 h 196"/>
                <a:gd name="T32" fmla="*/ 16 w 304"/>
                <a:gd name="T33" fmla="*/ 50 h 196"/>
                <a:gd name="T34" fmla="*/ 140 w 304"/>
                <a:gd name="T35" fmla="*/ 50 h 196"/>
                <a:gd name="T36" fmla="*/ 140 w 304"/>
                <a:gd name="T37" fmla="*/ 110 h 196"/>
                <a:gd name="T38" fmla="*/ 145 w 304"/>
                <a:gd name="T39" fmla="*/ 115 h 196"/>
                <a:gd name="T40" fmla="*/ 170 w 304"/>
                <a:gd name="T41" fmla="*/ 115 h 196"/>
                <a:gd name="T42" fmla="*/ 170 w 304"/>
                <a:gd name="T43" fmla="*/ 160 h 196"/>
                <a:gd name="T44" fmla="*/ 173 w 304"/>
                <a:gd name="T45" fmla="*/ 165 h 196"/>
                <a:gd name="T46" fmla="*/ 175 w 304"/>
                <a:gd name="T47" fmla="*/ 165 h 196"/>
                <a:gd name="T48" fmla="*/ 178 w 304"/>
                <a:gd name="T49" fmla="*/ 164 h 196"/>
                <a:gd name="T50" fmla="*/ 235 w 304"/>
                <a:gd name="T51" fmla="*/ 115 h 196"/>
                <a:gd name="T52" fmla="*/ 254 w 304"/>
                <a:gd name="T53" fmla="*/ 115 h 196"/>
                <a:gd name="T54" fmla="*/ 254 w 304"/>
                <a:gd name="T55" fmla="*/ 196 h 196"/>
                <a:gd name="T56" fmla="*/ 269 w 304"/>
                <a:gd name="T57" fmla="*/ 196 h 196"/>
                <a:gd name="T58" fmla="*/ 269 w 304"/>
                <a:gd name="T59" fmla="*/ 115 h 196"/>
                <a:gd name="T60" fmla="*/ 299 w 304"/>
                <a:gd name="T61" fmla="*/ 115 h 196"/>
                <a:gd name="T62" fmla="*/ 304 w 304"/>
                <a:gd name="T63" fmla="*/ 110 h 196"/>
                <a:gd name="T64" fmla="*/ 304 w 304"/>
                <a:gd name="T65" fmla="*/ 6 h 196"/>
                <a:gd name="T66" fmla="*/ 299 w 304"/>
                <a:gd name="T67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4" h="196">
                  <a:moveTo>
                    <a:pt x="155" y="100"/>
                  </a:moveTo>
                  <a:cubicBezTo>
                    <a:pt x="155" y="16"/>
                    <a:pt x="155" y="16"/>
                    <a:pt x="155" y="16"/>
                  </a:cubicBezTo>
                  <a:cubicBezTo>
                    <a:pt x="289" y="16"/>
                    <a:pt x="289" y="16"/>
                    <a:pt x="289" y="16"/>
                  </a:cubicBezTo>
                  <a:cubicBezTo>
                    <a:pt x="289" y="100"/>
                    <a:pt x="289" y="100"/>
                    <a:pt x="289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185" y="139"/>
                    <a:pt x="185" y="139"/>
                    <a:pt x="185" y="139"/>
                  </a:cubicBezTo>
                  <a:cubicBezTo>
                    <a:pt x="185" y="100"/>
                    <a:pt x="185" y="100"/>
                    <a:pt x="185" y="100"/>
                  </a:cubicBezTo>
                  <a:cubicBezTo>
                    <a:pt x="155" y="100"/>
                    <a:pt x="155" y="100"/>
                    <a:pt x="155" y="100"/>
                  </a:cubicBezTo>
                  <a:moveTo>
                    <a:pt x="299" y="0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2" y="0"/>
                    <a:pt x="140" y="3"/>
                    <a:pt x="140" y="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7"/>
                    <a:pt x="0" y="4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0" y="50"/>
                    <a:pt x="140" y="50"/>
                    <a:pt x="140" y="50"/>
                  </a:cubicBezTo>
                  <a:cubicBezTo>
                    <a:pt x="140" y="110"/>
                    <a:pt x="140" y="110"/>
                    <a:pt x="140" y="110"/>
                  </a:cubicBezTo>
                  <a:cubicBezTo>
                    <a:pt x="140" y="113"/>
                    <a:pt x="142" y="115"/>
                    <a:pt x="145" y="115"/>
                  </a:cubicBezTo>
                  <a:cubicBezTo>
                    <a:pt x="170" y="115"/>
                    <a:pt x="170" y="115"/>
                    <a:pt x="170" y="115"/>
                  </a:cubicBezTo>
                  <a:cubicBezTo>
                    <a:pt x="170" y="160"/>
                    <a:pt x="170" y="160"/>
                    <a:pt x="170" y="160"/>
                  </a:cubicBezTo>
                  <a:cubicBezTo>
                    <a:pt x="170" y="162"/>
                    <a:pt x="171" y="164"/>
                    <a:pt x="173" y="165"/>
                  </a:cubicBezTo>
                  <a:cubicBezTo>
                    <a:pt x="173" y="165"/>
                    <a:pt x="174" y="165"/>
                    <a:pt x="175" y="165"/>
                  </a:cubicBezTo>
                  <a:cubicBezTo>
                    <a:pt x="176" y="165"/>
                    <a:pt x="177" y="165"/>
                    <a:pt x="178" y="164"/>
                  </a:cubicBezTo>
                  <a:cubicBezTo>
                    <a:pt x="235" y="115"/>
                    <a:pt x="235" y="115"/>
                    <a:pt x="235" y="115"/>
                  </a:cubicBezTo>
                  <a:cubicBezTo>
                    <a:pt x="254" y="115"/>
                    <a:pt x="254" y="115"/>
                    <a:pt x="254" y="115"/>
                  </a:cubicBezTo>
                  <a:cubicBezTo>
                    <a:pt x="254" y="196"/>
                    <a:pt x="254" y="196"/>
                    <a:pt x="254" y="196"/>
                  </a:cubicBezTo>
                  <a:cubicBezTo>
                    <a:pt x="269" y="196"/>
                    <a:pt x="269" y="196"/>
                    <a:pt x="269" y="196"/>
                  </a:cubicBezTo>
                  <a:cubicBezTo>
                    <a:pt x="269" y="115"/>
                    <a:pt x="269" y="115"/>
                    <a:pt x="269" y="115"/>
                  </a:cubicBezTo>
                  <a:cubicBezTo>
                    <a:pt x="299" y="115"/>
                    <a:pt x="299" y="115"/>
                    <a:pt x="299" y="115"/>
                  </a:cubicBezTo>
                  <a:cubicBezTo>
                    <a:pt x="302" y="115"/>
                    <a:pt x="304" y="113"/>
                    <a:pt x="304" y="110"/>
                  </a:cubicBezTo>
                  <a:cubicBezTo>
                    <a:pt x="304" y="6"/>
                    <a:pt x="304" y="6"/>
                    <a:pt x="304" y="6"/>
                  </a:cubicBezTo>
                  <a:cubicBezTo>
                    <a:pt x="304" y="3"/>
                    <a:pt x="302" y="0"/>
                    <a:pt x="29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xmlns="" id="{2F9D26FC-1503-486D-A394-C6FD2BAC2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4" y="2203"/>
              <a:ext cx="243" cy="96"/>
            </a:xfrm>
            <a:custGeom>
              <a:avLst/>
              <a:gdLst>
                <a:gd name="T0" fmla="*/ 97 w 116"/>
                <a:gd name="T1" fmla="*/ 0 h 46"/>
                <a:gd name="T2" fmla="*/ 19 w 116"/>
                <a:gd name="T3" fmla="*/ 0 h 46"/>
                <a:gd name="T4" fmla="*/ 14 w 116"/>
                <a:gd name="T5" fmla="*/ 3 h 46"/>
                <a:gd name="T6" fmla="*/ 0 w 116"/>
                <a:gd name="T7" fmla="*/ 39 h 46"/>
                <a:gd name="T8" fmla="*/ 1 w 116"/>
                <a:gd name="T9" fmla="*/ 43 h 46"/>
                <a:gd name="T10" fmla="*/ 5 w 116"/>
                <a:gd name="T11" fmla="*/ 46 h 46"/>
                <a:gd name="T12" fmla="*/ 14 w 116"/>
                <a:gd name="T13" fmla="*/ 46 h 46"/>
                <a:gd name="T14" fmla="*/ 26 w 116"/>
                <a:gd name="T15" fmla="*/ 15 h 46"/>
                <a:gd name="T16" fmla="*/ 90 w 116"/>
                <a:gd name="T17" fmla="*/ 15 h 46"/>
                <a:gd name="T18" fmla="*/ 102 w 116"/>
                <a:gd name="T19" fmla="*/ 46 h 46"/>
                <a:gd name="T20" fmla="*/ 111 w 116"/>
                <a:gd name="T21" fmla="*/ 46 h 46"/>
                <a:gd name="T22" fmla="*/ 115 w 116"/>
                <a:gd name="T23" fmla="*/ 43 h 46"/>
                <a:gd name="T24" fmla="*/ 116 w 116"/>
                <a:gd name="T25" fmla="*/ 39 h 46"/>
                <a:gd name="T26" fmla="*/ 101 w 116"/>
                <a:gd name="T27" fmla="*/ 3 h 46"/>
                <a:gd name="T28" fmla="*/ 97 w 116"/>
                <a:gd name="T2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" h="46">
                  <a:moveTo>
                    <a:pt x="97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7" y="0"/>
                    <a:pt x="15" y="1"/>
                    <a:pt x="14" y="3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0" y="42"/>
                    <a:pt x="1" y="43"/>
                  </a:cubicBezTo>
                  <a:cubicBezTo>
                    <a:pt x="2" y="45"/>
                    <a:pt x="3" y="46"/>
                    <a:pt x="5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3" y="46"/>
                    <a:pt x="114" y="45"/>
                    <a:pt x="115" y="43"/>
                  </a:cubicBezTo>
                  <a:cubicBezTo>
                    <a:pt x="116" y="42"/>
                    <a:pt x="116" y="40"/>
                    <a:pt x="116" y="39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1"/>
                    <a:pt x="99" y="0"/>
                    <a:pt x="9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8" name="Group 42">
            <a:extLst>
              <a:ext uri="{FF2B5EF4-FFF2-40B4-BE49-F238E27FC236}">
                <a16:creationId xmlns:a16="http://schemas.microsoft.com/office/drawing/2014/main" xmlns="" id="{F8431A20-19BB-48C9-98EB-9F168A594A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194943" y="4154132"/>
            <a:ext cx="2011363" cy="1930400"/>
            <a:chOff x="3204" y="1553"/>
            <a:chExt cx="1267" cy="1216"/>
          </a:xfrm>
          <a:solidFill>
            <a:schemeClr val="bg1">
              <a:lumMod val="75000"/>
              <a:alpha val="16000"/>
            </a:schemeClr>
          </a:solidFill>
        </p:grpSpPr>
        <p:sp>
          <p:nvSpPr>
            <p:cNvPr id="39" name="Freeform 43">
              <a:extLst>
                <a:ext uri="{FF2B5EF4-FFF2-40B4-BE49-F238E27FC236}">
                  <a16:creationId xmlns:a16="http://schemas.microsoft.com/office/drawing/2014/main" xmlns="" id="{4C7D8713-6FF7-44F1-9034-92E357430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" y="2076"/>
              <a:ext cx="503" cy="635"/>
            </a:xfrm>
            <a:custGeom>
              <a:avLst/>
              <a:gdLst>
                <a:gd name="T0" fmla="*/ 224 w 241"/>
                <a:gd name="T1" fmla="*/ 0 h 305"/>
                <a:gd name="T2" fmla="*/ 222 w 241"/>
                <a:gd name="T3" fmla="*/ 1 h 305"/>
                <a:gd name="T4" fmla="*/ 212 w 241"/>
                <a:gd name="T5" fmla="*/ 3 h 305"/>
                <a:gd name="T6" fmla="*/ 202 w 241"/>
                <a:gd name="T7" fmla="*/ 18 h 305"/>
                <a:gd name="T8" fmla="*/ 205 w 241"/>
                <a:gd name="T9" fmla="*/ 55 h 305"/>
                <a:gd name="T10" fmla="*/ 12 w 241"/>
                <a:gd name="T11" fmla="*/ 269 h 305"/>
                <a:gd name="T12" fmla="*/ 0 w 241"/>
                <a:gd name="T13" fmla="*/ 283 h 305"/>
                <a:gd name="T14" fmla="*/ 1 w 241"/>
                <a:gd name="T15" fmla="*/ 293 h 305"/>
                <a:gd name="T16" fmla="*/ 6 w 241"/>
                <a:gd name="T17" fmla="*/ 302 h 305"/>
                <a:gd name="T18" fmla="*/ 14 w 241"/>
                <a:gd name="T19" fmla="*/ 305 h 305"/>
                <a:gd name="T20" fmla="*/ 15 w 241"/>
                <a:gd name="T21" fmla="*/ 305 h 305"/>
                <a:gd name="T22" fmla="*/ 241 w 241"/>
                <a:gd name="T23" fmla="*/ 55 h 305"/>
                <a:gd name="T24" fmla="*/ 237 w 241"/>
                <a:gd name="T25" fmla="*/ 11 h 305"/>
                <a:gd name="T26" fmla="*/ 232 w 241"/>
                <a:gd name="T27" fmla="*/ 2 h 305"/>
                <a:gd name="T28" fmla="*/ 224 w 241"/>
                <a:gd name="T29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1" h="305">
                  <a:moveTo>
                    <a:pt x="224" y="0"/>
                  </a:moveTo>
                  <a:cubicBezTo>
                    <a:pt x="224" y="0"/>
                    <a:pt x="223" y="0"/>
                    <a:pt x="222" y="1"/>
                  </a:cubicBezTo>
                  <a:cubicBezTo>
                    <a:pt x="212" y="3"/>
                    <a:pt x="212" y="3"/>
                    <a:pt x="212" y="3"/>
                  </a:cubicBezTo>
                  <a:cubicBezTo>
                    <a:pt x="205" y="4"/>
                    <a:pt x="201" y="11"/>
                    <a:pt x="202" y="18"/>
                  </a:cubicBezTo>
                  <a:cubicBezTo>
                    <a:pt x="204" y="30"/>
                    <a:pt x="205" y="42"/>
                    <a:pt x="205" y="55"/>
                  </a:cubicBezTo>
                  <a:cubicBezTo>
                    <a:pt x="205" y="166"/>
                    <a:pt x="122" y="258"/>
                    <a:pt x="12" y="269"/>
                  </a:cubicBezTo>
                  <a:cubicBezTo>
                    <a:pt x="5" y="270"/>
                    <a:pt x="0" y="276"/>
                    <a:pt x="0" y="283"/>
                  </a:cubicBezTo>
                  <a:cubicBezTo>
                    <a:pt x="1" y="293"/>
                    <a:pt x="1" y="293"/>
                    <a:pt x="1" y="293"/>
                  </a:cubicBezTo>
                  <a:cubicBezTo>
                    <a:pt x="1" y="296"/>
                    <a:pt x="3" y="300"/>
                    <a:pt x="6" y="302"/>
                  </a:cubicBezTo>
                  <a:cubicBezTo>
                    <a:pt x="8" y="304"/>
                    <a:pt x="11" y="305"/>
                    <a:pt x="14" y="305"/>
                  </a:cubicBezTo>
                  <a:cubicBezTo>
                    <a:pt x="14" y="305"/>
                    <a:pt x="15" y="305"/>
                    <a:pt x="15" y="305"/>
                  </a:cubicBezTo>
                  <a:cubicBezTo>
                    <a:pt x="144" y="292"/>
                    <a:pt x="241" y="184"/>
                    <a:pt x="241" y="55"/>
                  </a:cubicBezTo>
                  <a:cubicBezTo>
                    <a:pt x="241" y="40"/>
                    <a:pt x="240" y="25"/>
                    <a:pt x="237" y="11"/>
                  </a:cubicBezTo>
                  <a:cubicBezTo>
                    <a:pt x="236" y="7"/>
                    <a:pt x="234" y="4"/>
                    <a:pt x="232" y="2"/>
                  </a:cubicBezTo>
                  <a:cubicBezTo>
                    <a:pt x="229" y="1"/>
                    <a:pt x="227" y="0"/>
                    <a:pt x="224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44">
              <a:extLst>
                <a:ext uri="{FF2B5EF4-FFF2-40B4-BE49-F238E27FC236}">
                  <a16:creationId xmlns:a16="http://schemas.microsoft.com/office/drawing/2014/main" xmlns="" id="{014B7A96-F5DC-4AC0-9827-16921F3FB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1611"/>
              <a:ext cx="580" cy="392"/>
            </a:xfrm>
            <a:custGeom>
              <a:avLst/>
              <a:gdLst>
                <a:gd name="T0" fmla="*/ 238 w 278"/>
                <a:gd name="T1" fmla="*/ 0 h 188"/>
                <a:gd name="T2" fmla="*/ 1 w 278"/>
                <a:gd name="T3" fmla="*/ 168 h 188"/>
                <a:gd name="T4" fmla="*/ 2 w 278"/>
                <a:gd name="T5" fmla="*/ 178 h 188"/>
                <a:gd name="T6" fmla="*/ 10 w 278"/>
                <a:gd name="T7" fmla="*/ 185 h 188"/>
                <a:gd name="T8" fmla="*/ 19 w 278"/>
                <a:gd name="T9" fmla="*/ 188 h 188"/>
                <a:gd name="T10" fmla="*/ 23 w 278"/>
                <a:gd name="T11" fmla="*/ 188 h 188"/>
                <a:gd name="T12" fmla="*/ 35 w 278"/>
                <a:gd name="T13" fmla="*/ 180 h 188"/>
                <a:gd name="T14" fmla="*/ 238 w 278"/>
                <a:gd name="T15" fmla="*/ 36 h 188"/>
                <a:gd name="T16" fmla="*/ 262 w 278"/>
                <a:gd name="T17" fmla="*/ 37 h 188"/>
                <a:gd name="T18" fmla="*/ 263 w 278"/>
                <a:gd name="T19" fmla="*/ 37 h 188"/>
                <a:gd name="T20" fmla="*/ 276 w 278"/>
                <a:gd name="T21" fmla="*/ 26 h 188"/>
                <a:gd name="T22" fmla="*/ 278 w 278"/>
                <a:gd name="T23" fmla="*/ 17 h 188"/>
                <a:gd name="T24" fmla="*/ 275 w 278"/>
                <a:gd name="T25" fmla="*/ 7 h 188"/>
                <a:gd name="T26" fmla="*/ 267 w 278"/>
                <a:gd name="T27" fmla="*/ 2 h 188"/>
                <a:gd name="T28" fmla="*/ 238 w 278"/>
                <a:gd name="T29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8" h="188">
                  <a:moveTo>
                    <a:pt x="238" y="0"/>
                  </a:moveTo>
                  <a:cubicBezTo>
                    <a:pt x="132" y="0"/>
                    <a:pt x="36" y="68"/>
                    <a:pt x="1" y="168"/>
                  </a:cubicBezTo>
                  <a:cubicBezTo>
                    <a:pt x="0" y="172"/>
                    <a:pt x="0" y="175"/>
                    <a:pt x="2" y="178"/>
                  </a:cubicBezTo>
                  <a:cubicBezTo>
                    <a:pt x="4" y="181"/>
                    <a:pt x="6" y="184"/>
                    <a:pt x="10" y="185"/>
                  </a:cubicBezTo>
                  <a:cubicBezTo>
                    <a:pt x="19" y="188"/>
                    <a:pt x="19" y="188"/>
                    <a:pt x="19" y="188"/>
                  </a:cubicBezTo>
                  <a:cubicBezTo>
                    <a:pt x="20" y="188"/>
                    <a:pt x="22" y="188"/>
                    <a:pt x="23" y="188"/>
                  </a:cubicBezTo>
                  <a:cubicBezTo>
                    <a:pt x="28" y="188"/>
                    <a:pt x="33" y="185"/>
                    <a:pt x="35" y="180"/>
                  </a:cubicBezTo>
                  <a:cubicBezTo>
                    <a:pt x="65" y="94"/>
                    <a:pt x="147" y="36"/>
                    <a:pt x="238" y="36"/>
                  </a:cubicBezTo>
                  <a:cubicBezTo>
                    <a:pt x="246" y="36"/>
                    <a:pt x="254" y="36"/>
                    <a:pt x="262" y="37"/>
                  </a:cubicBezTo>
                  <a:cubicBezTo>
                    <a:pt x="263" y="37"/>
                    <a:pt x="263" y="37"/>
                    <a:pt x="263" y="37"/>
                  </a:cubicBezTo>
                  <a:cubicBezTo>
                    <a:pt x="270" y="37"/>
                    <a:pt x="275" y="33"/>
                    <a:pt x="276" y="26"/>
                  </a:cubicBezTo>
                  <a:cubicBezTo>
                    <a:pt x="278" y="17"/>
                    <a:pt x="278" y="17"/>
                    <a:pt x="278" y="17"/>
                  </a:cubicBezTo>
                  <a:cubicBezTo>
                    <a:pt x="278" y="13"/>
                    <a:pt x="277" y="10"/>
                    <a:pt x="275" y="7"/>
                  </a:cubicBezTo>
                  <a:cubicBezTo>
                    <a:pt x="273" y="4"/>
                    <a:pt x="270" y="2"/>
                    <a:pt x="267" y="2"/>
                  </a:cubicBezTo>
                  <a:cubicBezTo>
                    <a:pt x="257" y="1"/>
                    <a:pt x="248" y="0"/>
                    <a:pt x="23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45">
              <a:extLst>
                <a:ext uri="{FF2B5EF4-FFF2-40B4-BE49-F238E27FC236}">
                  <a16:creationId xmlns:a16="http://schemas.microsoft.com/office/drawing/2014/main" xmlns="" id="{251EAD84-EE4C-4B98-B11E-3191DE83B1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9" y="1553"/>
              <a:ext cx="502" cy="502"/>
            </a:xfrm>
            <a:custGeom>
              <a:avLst/>
              <a:gdLst>
                <a:gd name="T0" fmla="*/ 161 w 241"/>
                <a:gd name="T1" fmla="*/ 31 h 241"/>
                <a:gd name="T2" fmla="*/ 162 w 241"/>
                <a:gd name="T3" fmla="*/ 68 h 241"/>
                <a:gd name="T4" fmla="*/ 184 w 241"/>
                <a:gd name="T5" fmla="*/ 103 h 241"/>
                <a:gd name="T6" fmla="*/ 218 w 241"/>
                <a:gd name="T7" fmla="*/ 111 h 241"/>
                <a:gd name="T8" fmla="*/ 186 w 241"/>
                <a:gd name="T9" fmla="*/ 130 h 241"/>
                <a:gd name="T10" fmla="*/ 168 w 241"/>
                <a:gd name="T11" fmla="*/ 167 h 241"/>
                <a:gd name="T12" fmla="*/ 178 w 241"/>
                <a:gd name="T13" fmla="*/ 200 h 241"/>
                <a:gd name="T14" fmla="*/ 145 w 241"/>
                <a:gd name="T15" fmla="*/ 182 h 241"/>
                <a:gd name="T16" fmla="*/ 121 w 241"/>
                <a:gd name="T17" fmla="*/ 187 h 241"/>
                <a:gd name="T18" fmla="*/ 96 w 241"/>
                <a:gd name="T19" fmla="*/ 183 h 241"/>
                <a:gd name="T20" fmla="*/ 63 w 241"/>
                <a:gd name="T21" fmla="*/ 201 h 241"/>
                <a:gd name="T22" fmla="*/ 73 w 241"/>
                <a:gd name="T23" fmla="*/ 167 h 241"/>
                <a:gd name="T24" fmla="*/ 55 w 241"/>
                <a:gd name="T25" fmla="*/ 130 h 241"/>
                <a:gd name="T26" fmla="*/ 23 w 241"/>
                <a:gd name="T27" fmla="*/ 111 h 241"/>
                <a:gd name="T28" fmla="*/ 57 w 241"/>
                <a:gd name="T29" fmla="*/ 103 h 241"/>
                <a:gd name="T30" fmla="*/ 79 w 241"/>
                <a:gd name="T31" fmla="*/ 69 h 241"/>
                <a:gd name="T32" fmla="*/ 80 w 241"/>
                <a:gd name="T33" fmla="*/ 31 h 241"/>
                <a:gd name="T34" fmla="*/ 104 w 241"/>
                <a:gd name="T35" fmla="*/ 57 h 241"/>
                <a:gd name="T36" fmla="*/ 137 w 241"/>
                <a:gd name="T37" fmla="*/ 57 h 241"/>
                <a:gd name="T38" fmla="*/ 153 w 241"/>
                <a:gd name="T39" fmla="*/ 0 h 241"/>
                <a:gd name="T40" fmla="*/ 121 w 241"/>
                <a:gd name="T41" fmla="*/ 32 h 241"/>
                <a:gd name="T42" fmla="*/ 88 w 241"/>
                <a:gd name="T43" fmla="*/ 1 h 241"/>
                <a:gd name="T44" fmla="*/ 51 w 241"/>
                <a:gd name="T45" fmla="*/ 66 h 241"/>
                <a:gd name="T46" fmla="*/ 0 w 241"/>
                <a:gd name="T47" fmla="*/ 88 h 241"/>
                <a:gd name="T48" fmla="*/ 38 w 241"/>
                <a:gd name="T49" fmla="*/ 153 h 241"/>
                <a:gd name="T50" fmla="*/ 33 w 241"/>
                <a:gd name="T51" fmla="*/ 209 h 241"/>
                <a:gd name="T52" fmla="*/ 107 w 241"/>
                <a:gd name="T53" fmla="*/ 208 h 241"/>
                <a:gd name="T54" fmla="*/ 134 w 241"/>
                <a:gd name="T55" fmla="*/ 208 h 241"/>
                <a:gd name="T56" fmla="*/ 209 w 241"/>
                <a:gd name="T57" fmla="*/ 208 h 241"/>
                <a:gd name="T58" fmla="*/ 203 w 241"/>
                <a:gd name="T59" fmla="*/ 153 h 241"/>
                <a:gd name="T60" fmla="*/ 241 w 241"/>
                <a:gd name="T61" fmla="*/ 88 h 241"/>
                <a:gd name="T62" fmla="*/ 190 w 241"/>
                <a:gd name="T63" fmla="*/ 65 h 241"/>
                <a:gd name="T64" fmla="*/ 153 w 241"/>
                <a:gd name="T65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1" h="241">
                  <a:moveTo>
                    <a:pt x="145" y="59"/>
                  </a:moveTo>
                  <a:cubicBezTo>
                    <a:pt x="161" y="31"/>
                    <a:pt x="161" y="31"/>
                    <a:pt x="161" y="31"/>
                  </a:cubicBezTo>
                  <a:cubicBezTo>
                    <a:pt x="178" y="41"/>
                    <a:pt x="178" y="41"/>
                    <a:pt x="178" y="41"/>
                  </a:cubicBezTo>
                  <a:cubicBezTo>
                    <a:pt x="162" y="68"/>
                    <a:pt x="162" y="68"/>
                    <a:pt x="162" y="68"/>
                  </a:cubicBezTo>
                  <a:cubicBezTo>
                    <a:pt x="168" y="74"/>
                    <a:pt x="168" y="74"/>
                    <a:pt x="168" y="74"/>
                  </a:cubicBezTo>
                  <a:cubicBezTo>
                    <a:pt x="176" y="82"/>
                    <a:pt x="181" y="92"/>
                    <a:pt x="184" y="103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186" y="130"/>
                    <a:pt x="186" y="130"/>
                    <a:pt x="186" y="130"/>
                  </a:cubicBezTo>
                  <a:cubicBezTo>
                    <a:pt x="184" y="139"/>
                    <a:pt x="184" y="139"/>
                    <a:pt x="184" y="139"/>
                  </a:cubicBezTo>
                  <a:cubicBezTo>
                    <a:pt x="181" y="149"/>
                    <a:pt x="176" y="159"/>
                    <a:pt x="168" y="167"/>
                  </a:cubicBezTo>
                  <a:cubicBezTo>
                    <a:pt x="162" y="173"/>
                    <a:pt x="162" y="173"/>
                    <a:pt x="162" y="173"/>
                  </a:cubicBezTo>
                  <a:cubicBezTo>
                    <a:pt x="178" y="200"/>
                    <a:pt x="178" y="200"/>
                    <a:pt x="178" y="200"/>
                  </a:cubicBezTo>
                  <a:cubicBezTo>
                    <a:pt x="161" y="210"/>
                    <a:pt x="161" y="210"/>
                    <a:pt x="161" y="210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37" y="185"/>
                    <a:pt x="137" y="185"/>
                    <a:pt x="137" y="185"/>
                  </a:cubicBezTo>
                  <a:cubicBezTo>
                    <a:pt x="132" y="186"/>
                    <a:pt x="126" y="187"/>
                    <a:pt x="121" y="187"/>
                  </a:cubicBezTo>
                  <a:cubicBezTo>
                    <a:pt x="115" y="187"/>
                    <a:pt x="110" y="186"/>
                    <a:pt x="104" y="18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80" y="210"/>
                    <a:pt x="80" y="210"/>
                    <a:pt x="80" y="210"/>
                  </a:cubicBezTo>
                  <a:cubicBezTo>
                    <a:pt x="63" y="201"/>
                    <a:pt x="63" y="201"/>
                    <a:pt x="63" y="20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73" y="167"/>
                    <a:pt x="73" y="167"/>
                    <a:pt x="73" y="167"/>
                  </a:cubicBezTo>
                  <a:cubicBezTo>
                    <a:pt x="66" y="159"/>
                    <a:pt x="60" y="149"/>
                    <a:pt x="57" y="139"/>
                  </a:cubicBezTo>
                  <a:cubicBezTo>
                    <a:pt x="55" y="130"/>
                    <a:pt x="55" y="130"/>
                    <a:pt x="55" y="130"/>
                  </a:cubicBezTo>
                  <a:cubicBezTo>
                    <a:pt x="23" y="130"/>
                    <a:pt x="23" y="130"/>
                    <a:pt x="23" y="130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60" y="92"/>
                    <a:pt x="65" y="83"/>
                    <a:pt x="73" y="75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104" y="57"/>
                    <a:pt x="104" y="57"/>
                    <a:pt x="104" y="57"/>
                  </a:cubicBezTo>
                  <a:cubicBezTo>
                    <a:pt x="110" y="55"/>
                    <a:pt x="115" y="55"/>
                    <a:pt x="121" y="55"/>
                  </a:cubicBezTo>
                  <a:cubicBezTo>
                    <a:pt x="126" y="55"/>
                    <a:pt x="131" y="55"/>
                    <a:pt x="137" y="57"/>
                  </a:cubicBezTo>
                  <a:cubicBezTo>
                    <a:pt x="145" y="59"/>
                    <a:pt x="145" y="59"/>
                    <a:pt x="145" y="59"/>
                  </a:cubicBezTo>
                  <a:moveTo>
                    <a:pt x="153" y="0"/>
                  </a:moveTo>
                  <a:cubicBezTo>
                    <a:pt x="134" y="33"/>
                    <a:pt x="134" y="33"/>
                    <a:pt x="134" y="33"/>
                  </a:cubicBezTo>
                  <a:cubicBezTo>
                    <a:pt x="129" y="32"/>
                    <a:pt x="125" y="32"/>
                    <a:pt x="121" y="32"/>
                  </a:cubicBezTo>
                  <a:cubicBezTo>
                    <a:pt x="116" y="32"/>
                    <a:pt x="111" y="32"/>
                    <a:pt x="107" y="33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46" y="73"/>
                    <a:pt x="41" y="80"/>
                    <a:pt x="38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8" y="153"/>
                    <a:pt x="38" y="153"/>
                    <a:pt x="38" y="153"/>
                  </a:cubicBezTo>
                  <a:cubicBezTo>
                    <a:pt x="41" y="161"/>
                    <a:pt x="46" y="169"/>
                    <a:pt x="52" y="176"/>
                  </a:cubicBezTo>
                  <a:cubicBezTo>
                    <a:pt x="33" y="209"/>
                    <a:pt x="33" y="209"/>
                    <a:pt x="33" y="209"/>
                  </a:cubicBezTo>
                  <a:cubicBezTo>
                    <a:pt x="88" y="241"/>
                    <a:pt x="88" y="241"/>
                    <a:pt x="88" y="241"/>
                  </a:cubicBezTo>
                  <a:cubicBezTo>
                    <a:pt x="107" y="208"/>
                    <a:pt x="107" y="208"/>
                    <a:pt x="107" y="208"/>
                  </a:cubicBezTo>
                  <a:cubicBezTo>
                    <a:pt x="112" y="209"/>
                    <a:pt x="116" y="209"/>
                    <a:pt x="121" y="209"/>
                  </a:cubicBezTo>
                  <a:cubicBezTo>
                    <a:pt x="125" y="209"/>
                    <a:pt x="130" y="209"/>
                    <a:pt x="134" y="208"/>
                  </a:cubicBezTo>
                  <a:cubicBezTo>
                    <a:pt x="153" y="241"/>
                    <a:pt x="153" y="241"/>
                    <a:pt x="153" y="241"/>
                  </a:cubicBezTo>
                  <a:cubicBezTo>
                    <a:pt x="209" y="208"/>
                    <a:pt x="209" y="208"/>
                    <a:pt x="209" y="208"/>
                  </a:cubicBezTo>
                  <a:cubicBezTo>
                    <a:pt x="190" y="176"/>
                    <a:pt x="190" y="176"/>
                    <a:pt x="190" y="176"/>
                  </a:cubicBezTo>
                  <a:cubicBezTo>
                    <a:pt x="195" y="169"/>
                    <a:pt x="200" y="161"/>
                    <a:pt x="203" y="153"/>
                  </a:cubicBezTo>
                  <a:cubicBezTo>
                    <a:pt x="241" y="153"/>
                    <a:pt x="241" y="153"/>
                    <a:pt x="241" y="153"/>
                  </a:cubicBezTo>
                  <a:cubicBezTo>
                    <a:pt x="241" y="88"/>
                    <a:pt x="241" y="88"/>
                    <a:pt x="241" y="88"/>
                  </a:cubicBezTo>
                  <a:cubicBezTo>
                    <a:pt x="203" y="88"/>
                    <a:pt x="203" y="88"/>
                    <a:pt x="203" y="88"/>
                  </a:cubicBezTo>
                  <a:cubicBezTo>
                    <a:pt x="200" y="80"/>
                    <a:pt x="195" y="72"/>
                    <a:pt x="190" y="65"/>
                  </a:cubicBezTo>
                  <a:cubicBezTo>
                    <a:pt x="208" y="33"/>
                    <a:pt x="208" y="33"/>
                    <a:pt x="208" y="33"/>
                  </a:cubicBezTo>
                  <a:cubicBezTo>
                    <a:pt x="153" y="0"/>
                    <a:pt x="153" y="0"/>
                    <a:pt x="15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46">
              <a:extLst>
                <a:ext uri="{FF2B5EF4-FFF2-40B4-BE49-F238E27FC236}">
                  <a16:creationId xmlns:a16="http://schemas.microsoft.com/office/drawing/2014/main" xmlns="" id="{424F90E2-7C22-4496-89C8-7A48E00ABC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38" y="1722"/>
              <a:ext cx="164" cy="166"/>
            </a:xfrm>
            <a:custGeom>
              <a:avLst/>
              <a:gdLst>
                <a:gd name="T0" fmla="*/ 40 w 79"/>
                <a:gd name="T1" fmla="*/ 57 h 80"/>
                <a:gd name="T2" fmla="*/ 22 w 79"/>
                <a:gd name="T3" fmla="*/ 40 h 80"/>
                <a:gd name="T4" fmla="*/ 40 w 79"/>
                <a:gd name="T5" fmla="*/ 22 h 80"/>
                <a:gd name="T6" fmla="*/ 57 w 79"/>
                <a:gd name="T7" fmla="*/ 40 h 80"/>
                <a:gd name="T8" fmla="*/ 40 w 79"/>
                <a:gd name="T9" fmla="*/ 57 h 80"/>
                <a:gd name="T10" fmla="*/ 40 w 79"/>
                <a:gd name="T11" fmla="*/ 0 h 80"/>
                <a:gd name="T12" fmla="*/ 0 w 79"/>
                <a:gd name="T13" fmla="*/ 40 h 80"/>
                <a:gd name="T14" fmla="*/ 40 w 79"/>
                <a:gd name="T15" fmla="*/ 80 h 80"/>
                <a:gd name="T16" fmla="*/ 79 w 79"/>
                <a:gd name="T17" fmla="*/ 40 h 80"/>
                <a:gd name="T18" fmla="*/ 40 w 79"/>
                <a:gd name="T1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80">
                  <a:moveTo>
                    <a:pt x="40" y="57"/>
                  </a:moveTo>
                  <a:cubicBezTo>
                    <a:pt x="30" y="57"/>
                    <a:pt x="22" y="49"/>
                    <a:pt x="22" y="40"/>
                  </a:cubicBezTo>
                  <a:cubicBezTo>
                    <a:pt x="22" y="30"/>
                    <a:pt x="30" y="22"/>
                    <a:pt x="40" y="22"/>
                  </a:cubicBezTo>
                  <a:cubicBezTo>
                    <a:pt x="49" y="22"/>
                    <a:pt x="57" y="30"/>
                    <a:pt x="57" y="40"/>
                  </a:cubicBezTo>
                  <a:cubicBezTo>
                    <a:pt x="57" y="49"/>
                    <a:pt x="49" y="57"/>
                    <a:pt x="40" y="57"/>
                  </a:cubicBezTo>
                  <a:moveTo>
                    <a:pt x="40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62" y="80"/>
                    <a:pt x="79" y="62"/>
                    <a:pt x="79" y="40"/>
                  </a:cubicBezTo>
                  <a:cubicBezTo>
                    <a:pt x="79" y="18"/>
                    <a:pt x="62" y="0"/>
                    <a:pt x="4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47">
              <a:extLst>
                <a:ext uri="{FF2B5EF4-FFF2-40B4-BE49-F238E27FC236}">
                  <a16:creationId xmlns:a16="http://schemas.microsoft.com/office/drawing/2014/main" xmlns="" id="{00EE2C2D-FAB0-4817-A68C-C09012C446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4" y="2024"/>
              <a:ext cx="746" cy="745"/>
            </a:xfrm>
            <a:custGeom>
              <a:avLst/>
              <a:gdLst>
                <a:gd name="T0" fmla="*/ 122 w 358"/>
                <a:gd name="T1" fmla="*/ 86 h 358"/>
                <a:gd name="T2" fmla="*/ 166 w 358"/>
                <a:gd name="T3" fmla="*/ 70 h 358"/>
                <a:gd name="T4" fmla="*/ 192 w 358"/>
                <a:gd name="T5" fmla="*/ 32 h 358"/>
                <a:gd name="T6" fmla="*/ 204 w 358"/>
                <a:gd name="T7" fmla="*/ 73 h 358"/>
                <a:gd name="T8" fmla="*/ 246 w 358"/>
                <a:gd name="T9" fmla="*/ 93 h 358"/>
                <a:gd name="T10" fmla="*/ 292 w 358"/>
                <a:gd name="T11" fmla="*/ 84 h 358"/>
                <a:gd name="T12" fmla="*/ 271 w 358"/>
                <a:gd name="T13" fmla="*/ 122 h 358"/>
                <a:gd name="T14" fmla="*/ 287 w 358"/>
                <a:gd name="T15" fmla="*/ 166 h 358"/>
                <a:gd name="T16" fmla="*/ 326 w 358"/>
                <a:gd name="T17" fmla="*/ 192 h 358"/>
                <a:gd name="T18" fmla="*/ 285 w 358"/>
                <a:gd name="T19" fmla="*/ 204 h 358"/>
                <a:gd name="T20" fmla="*/ 265 w 358"/>
                <a:gd name="T21" fmla="*/ 247 h 358"/>
                <a:gd name="T22" fmla="*/ 274 w 358"/>
                <a:gd name="T23" fmla="*/ 292 h 358"/>
                <a:gd name="T24" fmla="*/ 236 w 358"/>
                <a:gd name="T25" fmla="*/ 272 h 358"/>
                <a:gd name="T26" fmla="*/ 192 w 358"/>
                <a:gd name="T27" fmla="*/ 288 h 358"/>
                <a:gd name="T28" fmla="*/ 166 w 358"/>
                <a:gd name="T29" fmla="*/ 326 h 358"/>
                <a:gd name="T30" fmla="*/ 154 w 358"/>
                <a:gd name="T31" fmla="*/ 285 h 358"/>
                <a:gd name="T32" fmla="*/ 111 w 358"/>
                <a:gd name="T33" fmla="*/ 265 h 358"/>
                <a:gd name="T34" fmla="*/ 66 w 358"/>
                <a:gd name="T35" fmla="*/ 274 h 358"/>
                <a:gd name="T36" fmla="*/ 86 w 358"/>
                <a:gd name="T37" fmla="*/ 236 h 358"/>
                <a:gd name="T38" fmla="*/ 70 w 358"/>
                <a:gd name="T39" fmla="*/ 192 h 358"/>
                <a:gd name="T40" fmla="*/ 32 w 358"/>
                <a:gd name="T41" fmla="*/ 166 h 358"/>
                <a:gd name="T42" fmla="*/ 73 w 358"/>
                <a:gd name="T43" fmla="*/ 154 h 358"/>
                <a:gd name="T44" fmla="*/ 93 w 358"/>
                <a:gd name="T45" fmla="*/ 111 h 358"/>
                <a:gd name="T46" fmla="*/ 84 w 358"/>
                <a:gd name="T47" fmla="*/ 66 h 358"/>
                <a:gd name="T48" fmla="*/ 223 w 358"/>
                <a:gd name="T49" fmla="*/ 0 h 358"/>
                <a:gd name="T50" fmla="*/ 134 w 358"/>
                <a:gd name="T51" fmla="*/ 46 h 358"/>
                <a:gd name="T52" fmla="*/ 84 w 358"/>
                <a:gd name="T53" fmla="*/ 21 h 358"/>
                <a:gd name="T54" fmla="*/ 53 w 358"/>
                <a:gd name="T55" fmla="*/ 116 h 358"/>
                <a:gd name="T56" fmla="*/ 0 w 358"/>
                <a:gd name="T57" fmla="*/ 134 h 358"/>
                <a:gd name="T58" fmla="*/ 46 w 358"/>
                <a:gd name="T59" fmla="*/ 224 h 358"/>
                <a:gd name="T60" fmla="*/ 21 w 358"/>
                <a:gd name="T61" fmla="*/ 274 h 358"/>
                <a:gd name="T62" fmla="*/ 116 w 358"/>
                <a:gd name="T63" fmla="*/ 305 h 358"/>
                <a:gd name="T64" fmla="*/ 134 w 358"/>
                <a:gd name="T65" fmla="*/ 358 h 358"/>
                <a:gd name="T66" fmla="*/ 223 w 358"/>
                <a:gd name="T67" fmla="*/ 312 h 358"/>
                <a:gd name="T68" fmla="*/ 274 w 358"/>
                <a:gd name="T69" fmla="*/ 337 h 358"/>
                <a:gd name="T70" fmla="*/ 304 w 358"/>
                <a:gd name="T71" fmla="*/ 242 h 358"/>
                <a:gd name="T72" fmla="*/ 358 w 358"/>
                <a:gd name="T73" fmla="*/ 224 h 358"/>
                <a:gd name="T74" fmla="*/ 312 w 358"/>
                <a:gd name="T75" fmla="*/ 134 h 358"/>
                <a:gd name="T76" fmla="*/ 337 w 358"/>
                <a:gd name="T77" fmla="*/ 84 h 358"/>
                <a:gd name="T78" fmla="*/ 241 w 358"/>
                <a:gd name="T79" fmla="*/ 53 h 358"/>
                <a:gd name="T80" fmla="*/ 223 w 358"/>
                <a:gd name="T81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8" h="358">
                  <a:moveTo>
                    <a:pt x="111" y="93"/>
                  </a:moveTo>
                  <a:cubicBezTo>
                    <a:pt x="122" y="86"/>
                    <a:pt x="122" y="86"/>
                    <a:pt x="122" y="86"/>
                  </a:cubicBezTo>
                  <a:cubicBezTo>
                    <a:pt x="132" y="80"/>
                    <a:pt x="142" y="76"/>
                    <a:pt x="154" y="73"/>
                  </a:cubicBezTo>
                  <a:cubicBezTo>
                    <a:pt x="166" y="70"/>
                    <a:pt x="166" y="70"/>
                    <a:pt x="166" y="70"/>
                  </a:cubicBezTo>
                  <a:cubicBezTo>
                    <a:pt x="166" y="32"/>
                    <a:pt x="166" y="32"/>
                    <a:pt x="166" y="32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92" y="70"/>
                    <a:pt x="192" y="70"/>
                    <a:pt x="192" y="70"/>
                  </a:cubicBezTo>
                  <a:cubicBezTo>
                    <a:pt x="204" y="73"/>
                    <a:pt x="204" y="73"/>
                    <a:pt x="204" y="73"/>
                  </a:cubicBezTo>
                  <a:cubicBezTo>
                    <a:pt x="215" y="76"/>
                    <a:pt x="226" y="80"/>
                    <a:pt x="236" y="86"/>
                  </a:cubicBezTo>
                  <a:cubicBezTo>
                    <a:pt x="246" y="93"/>
                    <a:pt x="246" y="93"/>
                    <a:pt x="246" y="93"/>
                  </a:cubicBezTo>
                  <a:cubicBezTo>
                    <a:pt x="274" y="66"/>
                    <a:pt x="274" y="66"/>
                    <a:pt x="274" y="66"/>
                  </a:cubicBezTo>
                  <a:cubicBezTo>
                    <a:pt x="292" y="84"/>
                    <a:pt x="292" y="84"/>
                    <a:pt x="292" y="84"/>
                  </a:cubicBezTo>
                  <a:cubicBezTo>
                    <a:pt x="265" y="111"/>
                    <a:pt x="265" y="111"/>
                    <a:pt x="265" y="111"/>
                  </a:cubicBezTo>
                  <a:cubicBezTo>
                    <a:pt x="271" y="122"/>
                    <a:pt x="271" y="122"/>
                    <a:pt x="271" y="122"/>
                  </a:cubicBezTo>
                  <a:cubicBezTo>
                    <a:pt x="277" y="132"/>
                    <a:pt x="282" y="143"/>
                    <a:pt x="285" y="154"/>
                  </a:cubicBezTo>
                  <a:cubicBezTo>
                    <a:pt x="287" y="166"/>
                    <a:pt x="287" y="166"/>
                    <a:pt x="287" y="166"/>
                  </a:cubicBezTo>
                  <a:cubicBezTo>
                    <a:pt x="326" y="166"/>
                    <a:pt x="326" y="166"/>
                    <a:pt x="326" y="166"/>
                  </a:cubicBezTo>
                  <a:cubicBezTo>
                    <a:pt x="326" y="192"/>
                    <a:pt x="326" y="192"/>
                    <a:pt x="326" y="192"/>
                  </a:cubicBezTo>
                  <a:cubicBezTo>
                    <a:pt x="287" y="192"/>
                    <a:pt x="287" y="192"/>
                    <a:pt x="287" y="192"/>
                  </a:cubicBezTo>
                  <a:cubicBezTo>
                    <a:pt x="285" y="204"/>
                    <a:pt x="285" y="204"/>
                    <a:pt x="285" y="204"/>
                  </a:cubicBezTo>
                  <a:cubicBezTo>
                    <a:pt x="282" y="215"/>
                    <a:pt x="277" y="226"/>
                    <a:pt x="271" y="236"/>
                  </a:cubicBezTo>
                  <a:cubicBezTo>
                    <a:pt x="265" y="247"/>
                    <a:pt x="265" y="247"/>
                    <a:pt x="265" y="247"/>
                  </a:cubicBezTo>
                  <a:cubicBezTo>
                    <a:pt x="292" y="274"/>
                    <a:pt x="292" y="274"/>
                    <a:pt x="292" y="274"/>
                  </a:cubicBezTo>
                  <a:cubicBezTo>
                    <a:pt x="274" y="292"/>
                    <a:pt x="274" y="292"/>
                    <a:pt x="274" y="292"/>
                  </a:cubicBezTo>
                  <a:cubicBezTo>
                    <a:pt x="246" y="265"/>
                    <a:pt x="246" y="265"/>
                    <a:pt x="246" y="265"/>
                  </a:cubicBezTo>
                  <a:cubicBezTo>
                    <a:pt x="236" y="272"/>
                    <a:pt x="236" y="272"/>
                    <a:pt x="236" y="272"/>
                  </a:cubicBezTo>
                  <a:cubicBezTo>
                    <a:pt x="226" y="278"/>
                    <a:pt x="215" y="282"/>
                    <a:pt x="204" y="285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92" y="326"/>
                    <a:pt x="192" y="326"/>
                    <a:pt x="192" y="326"/>
                  </a:cubicBezTo>
                  <a:cubicBezTo>
                    <a:pt x="166" y="326"/>
                    <a:pt x="166" y="326"/>
                    <a:pt x="166" y="326"/>
                  </a:cubicBezTo>
                  <a:cubicBezTo>
                    <a:pt x="166" y="288"/>
                    <a:pt x="166" y="288"/>
                    <a:pt x="166" y="288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42" y="282"/>
                    <a:pt x="132" y="278"/>
                    <a:pt x="122" y="272"/>
                  </a:cubicBezTo>
                  <a:cubicBezTo>
                    <a:pt x="111" y="265"/>
                    <a:pt x="111" y="265"/>
                    <a:pt x="111" y="265"/>
                  </a:cubicBezTo>
                  <a:cubicBezTo>
                    <a:pt x="84" y="292"/>
                    <a:pt x="84" y="292"/>
                    <a:pt x="84" y="292"/>
                  </a:cubicBezTo>
                  <a:cubicBezTo>
                    <a:pt x="66" y="274"/>
                    <a:pt x="66" y="274"/>
                    <a:pt x="66" y="274"/>
                  </a:cubicBezTo>
                  <a:cubicBezTo>
                    <a:pt x="93" y="247"/>
                    <a:pt x="93" y="247"/>
                    <a:pt x="93" y="247"/>
                  </a:cubicBezTo>
                  <a:cubicBezTo>
                    <a:pt x="86" y="236"/>
                    <a:pt x="86" y="236"/>
                    <a:pt x="86" y="236"/>
                  </a:cubicBezTo>
                  <a:cubicBezTo>
                    <a:pt x="80" y="226"/>
                    <a:pt x="76" y="215"/>
                    <a:pt x="73" y="204"/>
                  </a:cubicBezTo>
                  <a:cubicBezTo>
                    <a:pt x="70" y="192"/>
                    <a:pt x="70" y="192"/>
                    <a:pt x="70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70" y="166"/>
                    <a:pt x="70" y="166"/>
                    <a:pt x="70" y="16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6" y="143"/>
                    <a:pt x="80" y="132"/>
                    <a:pt x="86" y="122"/>
                  </a:cubicBezTo>
                  <a:cubicBezTo>
                    <a:pt x="93" y="111"/>
                    <a:pt x="93" y="111"/>
                    <a:pt x="93" y="111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111" y="93"/>
                    <a:pt x="111" y="93"/>
                    <a:pt x="111" y="93"/>
                  </a:cubicBezTo>
                  <a:moveTo>
                    <a:pt x="223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4" y="46"/>
                    <a:pt x="134" y="46"/>
                    <a:pt x="134" y="46"/>
                  </a:cubicBezTo>
                  <a:cubicBezTo>
                    <a:pt x="128" y="48"/>
                    <a:pt x="122" y="51"/>
                    <a:pt x="116" y="53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0" y="122"/>
                    <a:pt x="48" y="128"/>
                    <a:pt x="46" y="134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46" y="224"/>
                    <a:pt x="46" y="224"/>
                    <a:pt x="46" y="224"/>
                  </a:cubicBezTo>
                  <a:cubicBezTo>
                    <a:pt x="48" y="230"/>
                    <a:pt x="50" y="236"/>
                    <a:pt x="53" y="242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84" y="337"/>
                    <a:pt x="84" y="337"/>
                    <a:pt x="84" y="337"/>
                  </a:cubicBezTo>
                  <a:cubicBezTo>
                    <a:pt x="116" y="305"/>
                    <a:pt x="116" y="305"/>
                    <a:pt x="116" y="305"/>
                  </a:cubicBezTo>
                  <a:cubicBezTo>
                    <a:pt x="122" y="307"/>
                    <a:pt x="128" y="310"/>
                    <a:pt x="134" y="312"/>
                  </a:cubicBezTo>
                  <a:cubicBezTo>
                    <a:pt x="134" y="358"/>
                    <a:pt x="134" y="358"/>
                    <a:pt x="134" y="358"/>
                  </a:cubicBezTo>
                  <a:cubicBezTo>
                    <a:pt x="223" y="358"/>
                    <a:pt x="223" y="358"/>
                    <a:pt x="223" y="358"/>
                  </a:cubicBezTo>
                  <a:cubicBezTo>
                    <a:pt x="223" y="312"/>
                    <a:pt x="223" y="312"/>
                    <a:pt x="223" y="312"/>
                  </a:cubicBezTo>
                  <a:cubicBezTo>
                    <a:pt x="230" y="310"/>
                    <a:pt x="235" y="307"/>
                    <a:pt x="241" y="305"/>
                  </a:cubicBezTo>
                  <a:cubicBezTo>
                    <a:pt x="274" y="337"/>
                    <a:pt x="274" y="337"/>
                    <a:pt x="274" y="337"/>
                  </a:cubicBezTo>
                  <a:cubicBezTo>
                    <a:pt x="337" y="274"/>
                    <a:pt x="337" y="274"/>
                    <a:pt x="337" y="274"/>
                  </a:cubicBezTo>
                  <a:cubicBezTo>
                    <a:pt x="304" y="242"/>
                    <a:pt x="304" y="242"/>
                    <a:pt x="304" y="242"/>
                  </a:cubicBezTo>
                  <a:cubicBezTo>
                    <a:pt x="307" y="236"/>
                    <a:pt x="310" y="230"/>
                    <a:pt x="312" y="224"/>
                  </a:cubicBezTo>
                  <a:cubicBezTo>
                    <a:pt x="358" y="224"/>
                    <a:pt x="358" y="224"/>
                    <a:pt x="358" y="224"/>
                  </a:cubicBezTo>
                  <a:cubicBezTo>
                    <a:pt x="358" y="134"/>
                    <a:pt x="358" y="134"/>
                    <a:pt x="358" y="134"/>
                  </a:cubicBezTo>
                  <a:cubicBezTo>
                    <a:pt x="312" y="134"/>
                    <a:pt x="312" y="134"/>
                    <a:pt x="312" y="134"/>
                  </a:cubicBezTo>
                  <a:cubicBezTo>
                    <a:pt x="310" y="128"/>
                    <a:pt x="307" y="122"/>
                    <a:pt x="304" y="116"/>
                  </a:cubicBezTo>
                  <a:cubicBezTo>
                    <a:pt x="337" y="84"/>
                    <a:pt x="337" y="84"/>
                    <a:pt x="337" y="84"/>
                  </a:cubicBezTo>
                  <a:cubicBezTo>
                    <a:pt x="274" y="21"/>
                    <a:pt x="274" y="21"/>
                    <a:pt x="274" y="21"/>
                  </a:cubicBezTo>
                  <a:cubicBezTo>
                    <a:pt x="241" y="53"/>
                    <a:pt x="241" y="53"/>
                    <a:pt x="241" y="53"/>
                  </a:cubicBezTo>
                  <a:cubicBezTo>
                    <a:pt x="235" y="51"/>
                    <a:pt x="230" y="48"/>
                    <a:pt x="223" y="46"/>
                  </a:cubicBezTo>
                  <a:cubicBezTo>
                    <a:pt x="223" y="0"/>
                    <a:pt x="223" y="0"/>
                    <a:pt x="223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8">
              <a:extLst>
                <a:ext uri="{FF2B5EF4-FFF2-40B4-BE49-F238E27FC236}">
                  <a16:creationId xmlns:a16="http://schemas.microsoft.com/office/drawing/2014/main" xmlns="" id="{76771621-A7D3-4E26-B1A4-D4426DD627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0" y="2269"/>
              <a:ext cx="252" cy="254"/>
            </a:xfrm>
            <a:custGeom>
              <a:avLst/>
              <a:gdLst>
                <a:gd name="T0" fmla="*/ 61 w 121"/>
                <a:gd name="T1" fmla="*/ 90 h 122"/>
                <a:gd name="T2" fmla="*/ 32 w 121"/>
                <a:gd name="T3" fmla="*/ 61 h 122"/>
                <a:gd name="T4" fmla="*/ 61 w 121"/>
                <a:gd name="T5" fmla="*/ 32 h 122"/>
                <a:gd name="T6" fmla="*/ 90 w 121"/>
                <a:gd name="T7" fmla="*/ 61 h 122"/>
                <a:gd name="T8" fmla="*/ 61 w 121"/>
                <a:gd name="T9" fmla="*/ 90 h 122"/>
                <a:gd name="T10" fmla="*/ 61 w 121"/>
                <a:gd name="T11" fmla="*/ 0 h 122"/>
                <a:gd name="T12" fmla="*/ 0 w 121"/>
                <a:gd name="T13" fmla="*/ 61 h 122"/>
                <a:gd name="T14" fmla="*/ 61 w 121"/>
                <a:gd name="T15" fmla="*/ 122 h 122"/>
                <a:gd name="T16" fmla="*/ 121 w 121"/>
                <a:gd name="T17" fmla="*/ 61 h 122"/>
                <a:gd name="T18" fmla="*/ 61 w 121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22">
                  <a:moveTo>
                    <a:pt x="61" y="90"/>
                  </a:moveTo>
                  <a:cubicBezTo>
                    <a:pt x="45" y="90"/>
                    <a:pt x="32" y="77"/>
                    <a:pt x="32" y="61"/>
                  </a:cubicBezTo>
                  <a:cubicBezTo>
                    <a:pt x="32" y="45"/>
                    <a:pt x="45" y="32"/>
                    <a:pt x="61" y="32"/>
                  </a:cubicBezTo>
                  <a:cubicBezTo>
                    <a:pt x="77" y="32"/>
                    <a:pt x="90" y="45"/>
                    <a:pt x="90" y="61"/>
                  </a:cubicBezTo>
                  <a:cubicBezTo>
                    <a:pt x="90" y="77"/>
                    <a:pt x="77" y="90"/>
                    <a:pt x="61" y="90"/>
                  </a:cubicBezTo>
                  <a:moveTo>
                    <a:pt x="61" y="0"/>
                  </a:moveTo>
                  <a:cubicBezTo>
                    <a:pt x="27" y="0"/>
                    <a:pt x="0" y="28"/>
                    <a:pt x="0" y="61"/>
                  </a:cubicBezTo>
                  <a:cubicBezTo>
                    <a:pt x="0" y="94"/>
                    <a:pt x="27" y="122"/>
                    <a:pt x="61" y="122"/>
                  </a:cubicBezTo>
                  <a:cubicBezTo>
                    <a:pt x="94" y="122"/>
                    <a:pt x="121" y="94"/>
                    <a:pt x="121" y="61"/>
                  </a:cubicBezTo>
                  <a:cubicBezTo>
                    <a:pt x="121" y="28"/>
                    <a:pt x="94" y="0"/>
                    <a:pt x="6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30452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gradFill flip="none" rotWithShape="1"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4F8FCE62-64D5-4E7B-91B0-D06FA0EFAF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943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7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3B9D90BB-116F-4865-AD92-AFAFAE379F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xmlns="" id="{69A2A126-DC4D-4827-A127-734AA5402E75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C6303CE-314A-411B-9238-8A0E56C1A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xmlns="" id="{ECE29671-64D4-4163-AA82-589262FE5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xmlns="" id="{C2F032AA-6BA8-4299-A239-E359DFB22A6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773238"/>
            <a:ext cx="11449050" cy="4176712"/>
          </a:xfrm>
        </p:spPr>
        <p:txBody>
          <a:bodyPr/>
          <a:lstStyle>
            <a:lvl1pPr>
              <a:defRPr/>
            </a:lvl1pPr>
            <a:lvl2pPr>
              <a:defRPr sz="1400"/>
            </a:lvl2pPr>
            <a:lvl3pPr>
              <a:defRPr/>
            </a:lvl3pPr>
            <a:lvl4pPr>
              <a:defRPr sz="1200"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xmlns="" id="{61EA4196-2B1B-42D5-B2C5-66039EA98E6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E003DC-FAAD-4957-B25D-7EDFE88109D3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xmlns="" id="{3792C719-2E7D-4F97-A23F-127D353CA0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494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 grau">
    <p:bg>
      <p:bgPr>
        <a:gradFill flip="none" rotWithShape="1"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4F8FCE62-64D5-4E7B-91B0-D06FA0EFAF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110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50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4F8FCE62-64D5-4E7B-91B0-D06FA0EFAF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3B9D90BB-116F-4865-AD92-AFAFAE379F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xmlns="" id="{69A2A126-DC4D-4827-A127-734AA5402E75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C6303CE-314A-411B-9238-8A0E56C1A1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xmlns="" id="{ECE29671-64D4-4163-AA82-589262FE5E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xmlns="" id="{C2F032AA-6BA8-4299-A239-E359DFB22A6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773238"/>
            <a:ext cx="5616575" cy="4176712"/>
          </a:xfrm>
        </p:spPr>
        <p:txBody>
          <a:bodyPr/>
          <a:lstStyle>
            <a:lvl1pPr>
              <a:defRPr/>
            </a:lvl1pPr>
            <a:lvl2pPr>
              <a:defRPr sz="1400"/>
            </a:lvl2pPr>
            <a:lvl3pPr>
              <a:defRPr/>
            </a:lvl3pPr>
            <a:lvl4pPr>
              <a:defRPr sz="1200"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Inhaltsplatzhalter 11">
            <a:extLst>
              <a:ext uri="{FF2B5EF4-FFF2-40B4-BE49-F238E27FC236}">
                <a16:creationId xmlns:a16="http://schemas.microsoft.com/office/drawing/2014/main" xmlns="" id="{1E19BDBA-043E-4827-B1F1-65ACA8A9CD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04012" y="1773238"/>
            <a:ext cx="5616575" cy="41767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200"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6DF1806F-C3A3-43B6-9B1C-C398F56D42A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559963-5B73-4F72-BD2C-F0778D7EFDAE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xmlns="" id="{D76773F5-D1EC-45B2-BDFE-DFED68B5AA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836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ussage grau">
    <p:bg>
      <p:bgPr>
        <a:gradFill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4D45017A-9E88-4A14-B3E5-58C68914C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106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98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8013F69-7679-4D22-A329-0EA05C422FF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xmlns="" id="{64CFE4DD-E12F-4E0B-BFF5-E1955B9EED81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CDA139A6-DB6C-4E0D-93C6-AF3F3ED0A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xmlns="" id="{296B0E11-4BAA-4C15-A7B4-C78F345F7D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xmlns="" id="{C8CFE276-DA01-482D-9645-CCD6BC236CC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1E4ED33-D42E-4602-B362-B748F3D4A33F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xmlns="" id="{9493AD15-B053-434C-9676-021C5480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7400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 grau">
    <p:bg>
      <p:bgPr>
        <a:gradFill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9868CE87-A3D5-4AF9-890E-2F5033E91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45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0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86D14A7-87BC-4F8B-B2B7-9C825443F6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3B98BF2A-79CD-4218-88FF-15B0E89A7F82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CDA139A6-DB6C-4E0D-93C6-AF3F3ED0A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xmlns="" id="{E48BE49E-8009-400E-BF9D-7F5F7AFAFC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3A9B6-EB0E-480E-9E32-569A361A4DF8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xmlns="" id="{9701C7FF-71FD-45D3-99FE-A45134F095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36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grau">
    <p:bg>
      <p:bgPr>
        <a:gradFill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54562E35-EC81-4F16-AC2E-D292FBFF4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9083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2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3C8F60A1-90C5-40AE-98FB-62570893CC0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xmlns="" id="{0BE2A7C2-6EDB-4951-BBF8-3E3E73E1798E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xmlns="" id="{F8163A77-52DE-4304-B848-E83D4ECD9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5"/>
            <a:ext cx="9599533" cy="2492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xmlns="" id="{99F623C5-1165-4C83-97D1-84A2F38FC6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xmlns="" id="{7B791A7A-8AC7-4000-99D7-07E107AF19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A1F4742-638F-4E89-9129-626C7B16C18B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xmlns="" id="{3ADADF46-BE2F-48DA-A550-0B07FBF63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xmlns="" id="{0996DDE0-D232-4B6A-B6E9-5C612FCE488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364" y="2420908"/>
            <a:ext cx="5616000" cy="3528000"/>
          </a:xfrm>
          <a:solidFill>
            <a:schemeClr val="bg1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sz="1200"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3" name="Inhaltsplatzhalter 5">
            <a:extLst>
              <a:ext uri="{FF2B5EF4-FFF2-40B4-BE49-F238E27FC236}">
                <a16:creationId xmlns:a16="http://schemas.microsoft.com/office/drawing/2014/main" xmlns="" id="{5AA9BB1C-92BD-4FE6-9FF5-B7A6C906B0D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04636" y="2420908"/>
            <a:ext cx="5616000" cy="3528000"/>
          </a:xfrm>
          <a:solidFill>
            <a:schemeClr val="bg1"/>
          </a:solidFill>
          <a:ln>
            <a:noFill/>
          </a:ln>
        </p:spPr>
        <p:txBody>
          <a:bodyPr lIns="144000" tIns="144000" rIns="144000" bIns="144000"/>
          <a:lstStyle>
            <a:lvl1pPr>
              <a:defRPr/>
            </a:lvl1pPr>
            <a:lvl2pPr>
              <a:defRPr sz="1400"/>
            </a:lvl2pPr>
            <a:lvl3pPr>
              <a:defRPr/>
            </a:lvl3pPr>
            <a:lvl4pPr>
              <a:defRPr sz="1200"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xmlns="" id="{8F3840B3-30DE-4449-8B55-DF74402F0B9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364" y="1772908"/>
            <a:ext cx="5616000" cy="648000"/>
          </a:xfrm>
          <a:solidFill>
            <a:schemeClr val="accent1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xmlns="" id="{8531D14A-5A9E-49CD-AE5D-47BE41BC4A7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04012" y="1772908"/>
            <a:ext cx="5616000" cy="648000"/>
          </a:xfrm>
          <a:solidFill>
            <a:schemeClr val="accent1"/>
          </a:solidFill>
        </p:spPr>
        <p:txBody>
          <a:bodyPr lIns="144000" tIns="144000" rIns="144000" bIns="144000" anchor="ctr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rste Ebene</a:t>
            </a:r>
          </a:p>
        </p:txBody>
      </p:sp>
    </p:spTree>
    <p:extLst>
      <p:ext uri="{BB962C8B-B14F-4D97-AF65-F5344CB8AC3E}">
        <p14:creationId xmlns:p14="http://schemas.microsoft.com/office/powerpoint/2010/main" val="33238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Vorteile_1.1">
    <p:bg>
      <p:bgPr>
        <a:gradFill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xmlns="" id="{75A0CB3C-7526-43E5-89F0-7F2587E3D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318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2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xmlns="" id="{28A335E5-F036-4279-86CB-ECEA903737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xmlns="" id="{973CA077-21E5-48A8-B880-CA20C4B91A7C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C55595-5FAE-4DE7-AB61-14A50034E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4"/>
            <a:ext cx="4536000" cy="25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xmlns="" id="{07E9D8C2-82A7-4E2A-AE2B-2E43B6F772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4537075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 die Aussage der Folie in zwei Zeilen eingeb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xmlns="" id="{0AFB1B4C-80ED-4692-81AB-E0F1730AF9C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5833076-F4D7-4BC8-87F3-B59E1EEE8A5A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70F72A4B-A738-4960-B382-F769E747D07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A1F9966A-4891-4CA2-B190-AA9B62B7EF6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72682" y="1"/>
            <a:ext cx="7312177" cy="6436520"/>
          </a:xfrm>
          <a:custGeom>
            <a:avLst/>
            <a:gdLst>
              <a:gd name="connsiteX0" fmla="*/ 0 w 7312177"/>
              <a:gd name="connsiteY0" fmla="*/ 0 h 6436520"/>
              <a:gd name="connsiteX1" fmla="*/ 7312177 w 7312177"/>
              <a:gd name="connsiteY1" fmla="*/ 0 h 6436520"/>
              <a:gd name="connsiteX2" fmla="*/ 7312177 w 7312177"/>
              <a:gd name="connsiteY2" fmla="*/ 6198400 h 6436520"/>
              <a:gd name="connsiteX3" fmla="*/ 1449843 w 7312177"/>
              <a:gd name="connsiteY3" fmla="*/ 6436520 h 6436520"/>
              <a:gd name="connsiteX4" fmla="*/ 0 w 7312177"/>
              <a:gd name="connsiteY4" fmla="*/ 10698 h 643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12177" h="6436520">
                <a:moveTo>
                  <a:pt x="0" y="0"/>
                </a:moveTo>
                <a:lnTo>
                  <a:pt x="7312177" y="0"/>
                </a:lnTo>
                <a:lnTo>
                  <a:pt x="7312177" y="6198400"/>
                </a:lnTo>
                <a:lnTo>
                  <a:pt x="1449843" y="6436520"/>
                </a:lnTo>
                <a:lnTo>
                  <a:pt x="0" y="1069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xmlns="" id="{2A6D0B24-0FA8-4CE7-B1EA-03CF049A4A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772815"/>
            <a:ext cx="4537075" cy="4176000"/>
          </a:xfrm>
        </p:spPr>
        <p:txBody>
          <a:bodyPr/>
          <a:lstStyle>
            <a:lvl1pPr marL="324000" indent="-324000">
              <a:buClr>
                <a:schemeClr val="bg2"/>
              </a:buClr>
              <a:buSzPct val="90000"/>
              <a:buFont typeface="Wingdings 2" panose="05020102010507070707" pitchFamily="18" charset="2"/>
              <a:buChar char="Ë"/>
              <a:defRPr/>
            </a:lvl1pPr>
            <a:lvl2pPr marL="324000" indent="0">
              <a:buFont typeface="Arial" panose="020B0604020202020204" pitchFamily="34" charset="0"/>
              <a:buNone/>
              <a:defRPr sz="1400"/>
            </a:lvl2pPr>
            <a:lvl3pPr marL="0" indent="0">
              <a:lnSpc>
                <a:spcPct val="100000"/>
              </a:lnSpc>
              <a:spcBef>
                <a:spcPts val="300"/>
              </a:spcBef>
              <a:buNone/>
              <a:defRPr/>
            </a:lvl3pPr>
            <a:lvl4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200"/>
            </a:lvl4pPr>
            <a:lvl5pPr marL="0" indent="0">
              <a:lnSpc>
                <a:spcPct val="100000"/>
              </a:lnSpc>
              <a:spcBef>
                <a:spcPts val="300"/>
              </a:spcBef>
              <a:buNone/>
              <a:defRPr b="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spcBef>
                <a:spcPts val="300"/>
              </a:spcBef>
              <a:defRPr/>
            </a:lvl6pPr>
            <a:lvl7pPr>
              <a:lnSpc>
                <a:spcPct val="100000"/>
              </a:lnSpc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38112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grau">
    <p:bg>
      <p:bgPr>
        <a:gradFill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B89E878E-3449-49E6-8089-C81A746AF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1946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14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xmlns="" id="{CDF610C5-ADAD-4C71-9990-329F2044BFEC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xmlns="" id="{BE659779-2D68-4700-85C6-374A3FEB9D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50D818-C9A4-4B07-9A2F-58D7F0F84782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xmlns="" id="{538B806C-67C5-4736-9D87-B71CC4C6FF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393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grau">
    <p:bg>
      <p:bgPr>
        <a:gradFill>
          <a:gsLst>
            <a:gs pos="0">
              <a:srgbClr val="DCDCDC"/>
            </a:gs>
            <a:gs pos="70000">
              <a:srgbClr val="F3F3F3"/>
            </a:gs>
            <a:gs pos="37000">
              <a:srgbClr val="E9E9E9"/>
            </a:gs>
            <a:gs pos="100000">
              <a:srgbClr val="F6F6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B89E878E-3449-49E6-8089-C81A746AF6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6919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74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xmlns="" id="{B89E878E-3449-49E6-8089-C81A746AF6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xmlns="" id="{CDF610C5-ADAD-4C71-9990-329F2044BFEC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xmlns="" id="{BE659779-2D68-4700-85C6-374A3FEB9D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50D818-C9A4-4B07-9A2F-58D7F0F84782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xmlns="" id="{538B806C-67C5-4736-9D87-B71CC4C6FF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reeform: Shape 18">
            <a:extLst>
              <a:ext uri="{FF2B5EF4-FFF2-40B4-BE49-F238E27FC236}">
                <a16:creationId xmlns:a16="http://schemas.microsoft.com/office/drawing/2014/main" xmlns="" id="{5CE82D98-CB6F-46E3-96A0-1AF13DF28B1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72682" y="1"/>
            <a:ext cx="7312177" cy="6436520"/>
          </a:xfrm>
          <a:custGeom>
            <a:avLst/>
            <a:gdLst>
              <a:gd name="connsiteX0" fmla="*/ 0 w 7312177"/>
              <a:gd name="connsiteY0" fmla="*/ 0 h 6436520"/>
              <a:gd name="connsiteX1" fmla="*/ 7312177 w 7312177"/>
              <a:gd name="connsiteY1" fmla="*/ 0 h 6436520"/>
              <a:gd name="connsiteX2" fmla="*/ 7312177 w 7312177"/>
              <a:gd name="connsiteY2" fmla="*/ 6198400 h 6436520"/>
              <a:gd name="connsiteX3" fmla="*/ 1449843 w 7312177"/>
              <a:gd name="connsiteY3" fmla="*/ 6436520 h 6436520"/>
              <a:gd name="connsiteX4" fmla="*/ 0 w 7312177"/>
              <a:gd name="connsiteY4" fmla="*/ 10698 h 643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12177" h="6436520">
                <a:moveTo>
                  <a:pt x="0" y="0"/>
                </a:moveTo>
                <a:lnTo>
                  <a:pt x="7312177" y="0"/>
                </a:lnTo>
                <a:lnTo>
                  <a:pt x="7312177" y="6198400"/>
                </a:lnTo>
                <a:lnTo>
                  <a:pt x="1449843" y="6436520"/>
                </a:lnTo>
                <a:lnTo>
                  <a:pt x="0" y="1069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xmlns="" id="{851575D0-81EB-42E0-AFD5-8F0C92742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4"/>
            <a:ext cx="4536000" cy="252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xmlns="" id="{FFF87CA9-F3CC-40AD-9590-6BF733DA65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728749"/>
            <a:ext cx="4537075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 den Namen des Ansprechpartners nenn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xmlns="" id="{3E7C3D4B-65F9-4856-8D63-E87BAE48E9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1772815"/>
            <a:ext cx="4537075" cy="4176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marL="0" lvl="0" indent="0">
              <a:buNone/>
            </a:pPr>
            <a:r>
              <a:rPr lang="de-DE" sz="2000" b="0">
                <a:solidFill>
                  <a:schemeClr val="accent1"/>
                </a:solidFill>
                <a:latin typeface="+mn-lt"/>
              </a:rPr>
              <a:t>Mastertextformat bearbeit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xmlns="" id="{C500BA77-9A2C-4DE0-B316-A04553F49165}"/>
              </a:ext>
            </a:extLst>
          </p:cNvPr>
          <p:cNvSpPr txBox="1"/>
          <p:nvPr userDrawn="1"/>
        </p:nvSpPr>
        <p:spPr>
          <a:xfrm>
            <a:off x="1559354" y="3717032"/>
            <a:ext cx="2160240" cy="1969770"/>
          </a:xfrm>
          <a:prstGeom prst="rect">
            <a:avLst/>
          </a:prstGeom>
          <a:gradFill>
            <a:gsLst>
              <a:gs pos="0">
                <a:srgbClr val="DCDCDC"/>
              </a:gs>
              <a:gs pos="70000">
                <a:srgbClr val="F3F3F3"/>
              </a:gs>
              <a:gs pos="37000">
                <a:srgbClr val="E9E9E9"/>
              </a:gs>
              <a:gs pos="100000">
                <a:srgbClr val="F6F6F6"/>
              </a:gs>
            </a:gsLst>
            <a:lin ang="0" scaled="1"/>
          </a:gra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r>
              <a:rPr lang="de-DE" sz="1600" dirty="0"/>
              <a:t>BILD des Ansprechpartners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751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F204BAD9-57DD-4487-AD84-CDABDCB53A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419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02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8832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me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55F8548F-152E-47A4-8495-4A8E9E22D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CB174E51-B9FF-404A-BF16-10E360D678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1475" y="1773238"/>
            <a:ext cx="11449050" cy="4176712"/>
          </a:xfrm>
        </p:spPr>
        <p:txBody>
          <a:bodyPr numCol="2" spcCol="216000"/>
          <a:lstStyle>
            <a:lvl1pPr marL="360000" indent="-360000">
              <a:spcBef>
                <a:spcPts val="2400"/>
              </a:spcBef>
              <a:buClr>
                <a:schemeClr val="tx2"/>
              </a:buClr>
              <a:buFont typeface="+mj-lt"/>
              <a:buAutoNum type="arabicPeriod"/>
              <a:defRPr sz="2000"/>
            </a:lvl1pPr>
            <a:lvl2pPr marL="360000"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xmlns="" id="{5FC677D6-E863-41EF-B660-FF28E84C537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D6C3448-8071-49AA-AD4D-9094FD2E01DF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xmlns="" id="{394F1D5F-0FE8-4E02-8943-EA92C0AB57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/>
              <a:t>|</a:t>
            </a:r>
            <a:r>
              <a:rPr lang="de-DE" b="1" dirty="0"/>
              <a:t> </a:t>
            </a:r>
            <a:r>
              <a:rPr lang="de-DE" dirty="0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7031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Vortei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xmlns="" id="{666BCB83-FD02-427A-A999-9463371CE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14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xmlns="" id="{666BCB83-FD02-427A-A999-9463371CE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xmlns="" id="{5CC5696C-B648-44C1-8F30-97FFD03ADC8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1" name="Freihandform: Form 11">
            <a:extLst>
              <a:ext uri="{FF2B5EF4-FFF2-40B4-BE49-F238E27FC236}">
                <a16:creationId xmlns:a16="http://schemas.microsoft.com/office/drawing/2014/main" xmlns="" id="{6C41F8CA-0078-4374-9036-98C2D323CE39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4D37EB69-52B2-4B05-859A-D333E781268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72682" y="0"/>
            <a:ext cx="7339515" cy="6455212"/>
          </a:xfrm>
          <a:custGeom>
            <a:avLst/>
            <a:gdLst>
              <a:gd name="connsiteX0" fmla="*/ 0 w 7312177"/>
              <a:gd name="connsiteY0" fmla="*/ 0 h 6436520"/>
              <a:gd name="connsiteX1" fmla="*/ 7312177 w 7312177"/>
              <a:gd name="connsiteY1" fmla="*/ 0 h 6436520"/>
              <a:gd name="connsiteX2" fmla="*/ 7312177 w 7312177"/>
              <a:gd name="connsiteY2" fmla="*/ 6198400 h 6436520"/>
              <a:gd name="connsiteX3" fmla="*/ 1449843 w 7312177"/>
              <a:gd name="connsiteY3" fmla="*/ 6436520 h 6436520"/>
              <a:gd name="connsiteX4" fmla="*/ 0 w 7312177"/>
              <a:gd name="connsiteY4" fmla="*/ 10698 h 6436520"/>
              <a:gd name="connsiteX0" fmla="*/ 0 w 7337115"/>
              <a:gd name="connsiteY0" fmla="*/ 0 h 6436520"/>
              <a:gd name="connsiteX1" fmla="*/ 7337115 w 7337115"/>
              <a:gd name="connsiteY1" fmla="*/ 0 h 6436520"/>
              <a:gd name="connsiteX2" fmla="*/ 7312177 w 7337115"/>
              <a:gd name="connsiteY2" fmla="*/ 6198400 h 6436520"/>
              <a:gd name="connsiteX3" fmla="*/ 1449843 w 7337115"/>
              <a:gd name="connsiteY3" fmla="*/ 6436520 h 6436520"/>
              <a:gd name="connsiteX4" fmla="*/ 0 w 7337115"/>
              <a:gd name="connsiteY4" fmla="*/ 10698 h 6436520"/>
              <a:gd name="connsiteX5" fmla="*/ 0 w 7337115"/>
              <a:gd name="connsiteY5" fmla="*/ 0 h 6436520"/>
              <a:gd name="connsiteX0" fmla="*/ 0 w 7337115"/>
              <a:gd name="connsiteY0" fmla="*/ 0 h 6436520"/>
              <a:gd name="connsiteX1" fmla="*/ 7337115 w 7337115"/>
              <a:gd name="connsiteY1" fmla="*/ 0 h 6436520"/>
              <a:gd name="connsiteX2" fmla="*/ 7328803 w 7337115"/>
              <a:gd name="connsiteY2" fmla="*/ 6190164 h 6436520"/>
              <a:gd name="connsiteX3" fmla="*/ 1449843 w 7337115"/>
              <a:gd name="connsiteY3" fmla="*/ 6436520 h 6436520"/>
              <a:gd name="connsiteX4" fmla="*/ 0 w 7337115"/>
              <a:gd name="connsiteY4" fmla="*/ 10698 h 6436520"/>
              <a:gd name="connsiteX5" fmla="*/ 0 w 7337115"/>
              <a:gd name="connsiteY5" fmla="*/ 0 h 6436520"/>
              <a:gd name="connsiteX0" fmla="*/ 0 w 7337115"/>
              <a:gd name="connsiteY0" fmla="*/ 0 h 6395342"/>
              <a:gd name="connsiteX1" fmla="*/ 7337115 w 7337115"/>
              <a:gd name="connsiteY1" fmla="*/ 0 h 6395342"/>
              <a:gd name="connsiteX2" fmla="*/ 7328803 w 7337115"/>
              <a:gd name="connsiteY2" fmla="*/ 6190164 h 6395342"/>
              <a:gd name="connsiteX3" fmla="*/ 1449843 w 7337115"/>
              <a:gd name="connsiteY3" fmla="*/ 6395342 h 6395342"/>
              <a:gd name="connsiteX4" fmla="*/ 0 w 7337115"/>
              <a:gd name="connsiteY4" fmla="*/ 10698 h 6395342"/>
              <a:gd name="connsiteX5" fmla="*/ 0 w 7337115"/>
              <a:gd name="connsiteY5" fmla="*/ 0 h 6395342"/>
              <a:gd name="connsiteX0" fmla="*/ 0 w 7339515"/>
              <a:gd name="connsiteY0" fmla="*/ 0 h 6395342"/>
              <a:gd name="connsiteX1" fmla="*/ 7337115 w 7339515"/>
              <a:gd name="connsiteY1" fmla="*/ 0 h 6395342"/>
              <a:gd name="connsiteX2" fmla="*/ 7337116 w 7339515"/>
              <a:gd name="connsiteY2" fmla="*/ 6157221 h 6395342"/>
              <a:gd name="connsiteX3" fmla="*/ 1449843 w 7339515"/>
              <a:gd name="connsiteY3" fmla="*/ 6395342 h 6395342"/>
              <a:gd name="connsiteX4" fmla="*/ 0 w 7339515"/>
              <a:gd name="connsiteY4" fmla="*/ 10698 h 6395342"/>
              <a:gd name="connsiteX5" fmla="*/ 0 w 7339515"/>
              <a:gd name="connsiteY5" fmla="*/ 0 h 639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39515" h="6395342">
                <a:moveTo>
                  <a:pt x="0" y="0"/>
                </a:moveTo>
                <a:lnTo>
                  <a:pt x="7337115" y="0"/>
                </a:lnTo>
                <a:cubicBezTo>
                  <a:pt x="7328802" y="2066133"/>
                  <a:pt x="7345429" y="4091088"/>
                  <a:pt x="7337116" y="6157221"/>
                </a:cubicBezTo>
                <a:lnTo>
                  <a:pt x="1449843" y="6395342"/>
                </a:lnTo>
                <a:lnTo>
                  <a:pt x="0" y="10698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9E66DF44-59DB-4D84-AF9D-979B4A944D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772815"/>
            <a:ext cx="4537075" cy="4176000"/>
          </a:xfrm>
        </p:spPr>
        <p:txBody>
          <a:bodyPr/>
          <a:lstStyle>
            <a:lvl1pPr marL="324000" indent="-324000">
              <a:buClr>
                <a:schemeClr val="tx2"/>
              </a:buClr>
              <a:buSzPct val="90000"/>
              <a:buFont typeface="Wingdings 2" panose="05020102010507070707" pitchFamily="18" charset="2"/>
              <a:buChar char="Ë"/>
              <a:defRPr>
                <a:solidFill>
                  <a:srgbClr val="F4F7F9"/>
                </a:solidFill>
              </a:defRPr>
            </a:lvl1pPr>
            <a:lvl2pPr marL="324000" indent="0">
              <a:buFont typeface="Arial" panose="020B0604020202020204" pitchFamily="34" charset="0"/>
              <a:buNone/>
              <a:defRPr/>
            </a:lvl2pPr>
            <a:lvl3pPr marL="0" indent="0">
              <a:lnSpc>
                <a:spcPct val="100000"/>
              </a:lnSpc>
              <a:spcBef>
                <a:spcPts val="300"/>
              </a:spcBef>
              <a:buNone/>
              <a:defRPr/>
            </a:lvl3pPr>
            <a:lvl4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/>
            </a:lvl4pPr>
            <a:lvl5pPr marL="0" indent="0">
              <a:lnSpc>
                <a:spcPct val="100000"/>
              </a:lnSpc>
              <a:spcBef>
                <a:spcPts val="300"/>
              </a:spcBef>
              <a:buNone/>
              <a:defRPr b="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spcBef>
                <a:spcPts val="300"/>
              </a:spcBef>
              <a:defRPr/>
            </a:lvl6pPr>
            <a:lvl7pPr>
              <a:lnSpc>
                <a:spcPct val="100000"/>
              </a:lnSpc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F77640EC-B413-4627-81A0-C05CB138ABB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173683" y="257100"/>
            <a:ext cx="1637500" cy="471600"/>
          </a:xfrm>
          <a:prstGeom prst="rect">
            <a:avLst/>
          </a:prstGeom>
        </p:spPr>
      </p:pic>
      <p:sp>
        <p:nvSpPr>
          <p:cNvPr id="16" name="Textplatzhalter 8">
            <a:extLst>
              <a:ext uri="{FF2B5EF4-FFF2-40B4-BE49-F238E27FC236}">
                <a16:creationId xmlns:a16="http://schemas.microsoft.com/office/drawing/2014/main" xmlns="" id="{B5DC91D2-3EA8-48A4-9224-196A7F8535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4537075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die Aussage in max. zwei Zeilen eingeb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xmlns="" id="{940553ED-9236-4642-87F4-F3B13541A6D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C6C8539-7C8C-414B-8008-2AE675021FC5}" type="datetime1">
              <a:rPr lang="de-DE" smtClean="0"/>
              <a:pPr/>
              <a:t>04.09.2019</a:t>
            </a:fld>
            <a:endParaRPr lang="de-DE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5C3B5D9B-6611-42F3-BFCD-79F61FD2DD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xmlns="" id="{796E2958-7C24-4057-B022-91521D500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4"/>
            <a:ext cx="4536000" cy="252000"/>
          </a:xfrm>
        </p:spPr>
        <p:txBody>
          <a:bodyPr/>
          <a:lstStyle>
            <a:lvl1pPr>
              <a:defRPr>
                <a:solidFill>
                  <a:srgbClr val="F6F6F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793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3F58AA40-6796-486D-8EE2-39F0B7EAC6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483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5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BEB0ED50-4069-4638-A8C5-F93992C240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224BDB40-A4DA-4843-A2B4-779E9B362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xmlns="" id="{A5956150-6522-4CA2-A69F-811A25C88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xmlns="" id="{4C1B2DE9-C59B-4D6B-89C0-EF4A99749A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75" y="1773238"/>
            <a:ext cx="11449050" cy="4176712"/>
          </a:xfrm>
        </p:spPr>
        <p:txBody>
          <a:bodyPr/>
          <a:lstStyle>
            <a:lvl2pPr>
              <a:defRPr sz="1400"/>
            </a:lvl2pPr>
            <a:lvl4pPr>
              <a:defRPr sz="12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xmlns="" id="{5A3EB533-0924-4AEF-8D67-D52140E982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xmlns="" id="{41CC589D-4F78-4833-BFFD-DCA9C226943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7767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3F58AA40-6796-486D-8EE2-39F0B7EAC6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90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03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3F58AA40-6796-486D-8EE2-39F0B7EAC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BEB0ED50-4069-4638-A8C5-F93992C240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224BDB40-A4DA-4843-A2B4-779E9B362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xmlns="" id="{A5956150-6522-4CA2-A69F-811A25C88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xmlns="" id="{4C1B2DE9-C59B-4D6B-89C0-EF4A99749A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75" y="1773238"/>
            <a:ext cx="5616575" cy="4176712"/>
          </a:xfrm>
        </p:spPr>
        <p:txBody>
          <a:bodyPr/>
          <a:lstStyle>
            <a:lvl3pPr>
              <a:defRPr sz="1500"/>
            </a:lvl3pPr>
            <a:lvl4pPr>
              <a:defRPr sz="1400"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10">
            <a:extLst>
              <a:ext uri="{FF2B5EF4-FFF2-40B4-BE49-F238E27FC236}">
                <a16:creationId xmlns:a16="http://schemas.microsoft.com/office/drawing/2014/main" xmlns="" id="{BF7DDB1F-09A3-464E-ADD6-97E80CD055A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4012" y="1773238"/>
            <a:ext cx="5616575" cy="4176712"/>
          </a:xfrm>
        </p:spPr>
        <p:txBody>
          <a:bodyPr/>
          <a:lstStyle>
            <a:lvl3pPr>
              <a:defRPr sz="1500"/>
            </a:lvl3pPr>
            <a:lvl4pPr>
              <a:defRPr sz="1400"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4560799E-4CCD-4138-85BF-4D9887831FE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FFC5583-7188-431B-924F-6FFE5042829A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E8A8CC10-83EA-4916-BE39-6FF9F465F0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6992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3F58AA40-6796-486D-8EE2-39F0B7EAC6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536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57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3F58AA40-6796-486D-8EE2-39F0B7EAC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BEB0ED50-4069-4638-A8C5-F93992C240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224BDB40-A4DA-4843-A2B4-779E9B362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xmlns="" id="{A5956150-6522-4CA2-A69F-811A25C88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F67F5A66-3E96-4C64-B761-EAC71B9775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773238"/>
            <a:ext cx="11449050" cy="57564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9pPr>
          </a:lstStyle>
          <a:p>
            <a:pPr lvl="0"/>
            <a:r>
              <a:rPr lang="de-DE" dirty="0"/>
              <a:t>Diagrammtitel</a:t>
            </a:r>
          </a:p>
          <a:p>
            <a:pPr lvl="1"/>
            <a:r>
              <a:rPr lang="de-DE" dirty="0"/>
              <a:t>Einheit</a:t>
            </a:r>
          </a:p>
        </p:txBody>
      </p:sp>
      <p:sp>
        <p:nvSpPr>
          <p:cNvPr id="12" name="Diagrammplatzhalter 11">
            <a:extLst>
              <a:ext uri="{FF2B5EF4-FFF2-40B4-BE49-F238E27FC236}">
                <a16:creationId xmlns:a16="http://schemas.microsoft.com/office/drawing/2014/main" xmlns="" id="{1FD213E8-4CAE-4F54-9584-C9C0F8942B5D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71475" y="2565280"/>
            <a:ext cx="11449050" cy="3384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xmlns="" id="{1B8EF111-D74C-4331-9E80-BF86CFAB804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5FFDE82-2C73-4471-A0A2-7E6A35BA6374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xmlns="" id="{672BA8EB-6DF8-450A-8127-1FB09CA1E8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848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485E7C4B-C9DC-46CF-8A53-58C98D3C83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75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76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6C9C32EB-EA5D-427A-A13A-D48844ACD3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CDA139A6-DB6C-4E0D-93C6-AF3F3ED0A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xmlns="" id="{F274377E-D9D5-4F3B-A2DB-E4992A0DA8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728749"/>
            <a:ext cx="9576000" cy="79200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3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4"/>
                </a:solidFill>
                <a:latin typeface="+mj-lt"/>
              </a:defRPr>
            </a:lvl5pPr>
            <a:lvl6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5"/>
                </a:solidFill>
                <a:latin typeface="+mj-lt"/>
              </a:defRPr>
            </a:lvl6pPr>
            <a:lvl7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accent6"/>
                </a:solidFill>
                <a:latin typeface="+mj-lt"/>
              </a:defRPr>
            </a:lvl7pPr>
            <a:lvl8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8pPr>
            <a:lvl9pPr marL="0">
              <a:lnSpc>
                <a:spcPct val="100000"/>
              </a:lnSpc>
              <a:spcBef>
                <a:spcPts val="0"/>
              </a:spcBef>
              <a:buFontTx/>
              <a:buNone/>
              <a:defRPr sz="24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Hier bitte die Aussage der Folie in maximal zwei Zeilen eingeben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xmlns="" id="{D957F90D-9213-4308-AAF0-7EC2B33E01F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9E719D-E633-4D5B-B480-A50B62B347B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xmlns="" id="{161E9C3C-9740-4E0D-BF77-EBA04287B6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634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8AA1D788-C94F-4892-9939-1969E45DDF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417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47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ABF39279-8827-4108-A978-CE93C39775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CDA139A6-DB6C-4E0D-93C6-AF3F3ED0A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xmlns="" id="{C6C04A20-4D2B-4276-83DB-65705E7CB8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5E4E38-B2A2-4417-91D2-70FD98FCCB5D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xmlns="" id="{B4D883CA-05D8-4331-AB50-979FAA9FB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575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47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48" Type="http://schemas.openxmlformats.org/officeDocument/2006/relationships/image" Target="../media/image3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B6083E57-ABC5-4923-86C2-F84724D6C6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5266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" name="think-cell Folie" r:id="rId45" imgW="245" imgH="245" progId="TCLayout.ActiveDocument.1">
                  <p:embed/>
                </p:oleObj>
              </mc:Choice>
              <mc:Fallback>
                <p:oleObj name="think-cell Folie" r:id="rId45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xmlns="" id="{86A34188-8488-4ADE-B7DC-0C2BCBBEB8FF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xmlns="" id="{B73CE859-5926-4B6F-ACC1-09B658962806}"/>
              </a:ext>
            </a:extLst>
          </p:cNvPr>
          <p:cNvSpPr/>
          <p:nvPr userDrawn="1"/>
        </p:nvSpPr>
        <p:spPr>
          <a:xfrm>
            <a:off x="0" y="6198111"/>
            <a:ext cx="12192001" cy="659889"/>
          </a:xfrm>
          <a:custGeom>
            <a:avLst/>
            <a:gdLst>
              <a:gd name="connsiteX0" fmla="*/ 12192001 w 12192001"/>
              <a:gd name="connsiteY0" fmla="*/ 0 h 659889"/>
              <a:gd name="connsiteX1" fmla="*/ 12192001 w 12192001"/>
              <a:gd name="connsiteY1" fmla="*/ 659889 h 659889"/>
              <a:gd name="connsiteX2" fmla="*/ 0 w 12192001"/>
              <a:gd name="connsiteY2" fmla="*/ 659889 h 659889"/>
              <a:gd name="connsiteX3" fmla="*/ 0 w 12192001"/>
              <a:gd name="connsiteY3" fmla="*/ 495220 h 659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59889">
                <a:moveTo>
                  <a:pt x="12192001" y="0"/>
                </a:moveTo>
                <a:lnTo>
                  <a:pt x="12192001" y="659889"/>
                </a:lnTo>
                <a:lnTo>
                  <a:pt x="0" y="659889"/>
                </a:lnTo>
                <a:lnTo>
                  <a:pt x="0" y="49522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xmlns="" id="{68919F4F-6D0E-4CF6-BBC7-1C068DDFD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224"/>
            <a:ext cx="9576000" cy="2520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/>
              <a:t>Hier den Folientitel eingeb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C74C2810-22A6-466D-BDB5-5D17A09939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632" y="1772816"/>
            <a:ext cx="11448000" cy="41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00C39679-2E5B-436A-8062-8BD3BE449A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40416" y="6417332"/>
            <a:ext cx="1092002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300">
                <a:solidFill>
                  <a:schemeClr val="tx1"/>
                </a:solidFill>
                <a:latin typeface="+mn-lt"/>
              </a:defRPr>
            </a:lvl1pPr>
          </a:lstStyle>
          <a:p>
            <a:fld id="{5A799E8B-E17B-42E8-9538-4646A05FAFA6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F7A461C4-AFEE-4FA8-9CD2-9034ED26A9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7663" y="6417372"/>
            <a:ext cx="871818" cy="36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300">
                <a:solidFill>
                  <a:schemeClr val="tx1"/>
                </a:solidFill>
                <a:latin typeface="+mn-lt"/>
                <a:cs typeface="Mongolian Baiti" panose="03000500000000000000" pitchFamily="66" charset="0"/>
              </a:defRPr>
            </a:lvl1pPr>
          </a:lstStyle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xmlns="" id="{31FF011C-F5A5-4249-84D5-87583942337C}"/>
              </a:ext>
            </a:extLst>
          </p:cNvPr>
          <p:cNvGrpSpPr/>
          <p:nvPr userDrawn="1"/>
        </p:nvGrpSpPr>
        <p:grpSpPr>
          <a:xfrm>
            <a:off x="10163610" y="255757"/>
            <a:ext cx="1648228" cy="487014"/>
            <a:chOff x="10163610" y="1419508"/>
            <a:chExt cx="1648228" cy="487014"/>
          </a:xfrm>
        </p:grpSpPr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78D0D873-2919-4006-9861-882BA25F7E83}"/>
                </a:ext>
              </a:extLst>
            </p:cNvPr>
            <p:cNvSpPr/>
            <p:nvPr/>
          </p:nvSpPr>
          <p:spPr>
            <a:xfrm>
              <a:off x="10803138" y="1599982"/>
              <a:ext cx="170300" cy="196500"/>
            </a:xfrm>
            <a:custGeom>
              <a:avLst/>
              <a:gdLst>
                <a:gd name="connsiteX0" fmla="*/ 101525 w 170300"/>
                <a:gd name="connsiteY0" fmla="*/ 151305 h 196500"/>
                <a:gd name="connsiteX1" fmla="*/ 67465 w 170300"/>
                <a:gd name="connsiteY1" fmla="*/ 136895 h 196500"/>
                <a:gd name="connsiteX2" fmla="*/ 54365 w 170300"/>
                <a:gd name="connsiteY2" fmla="*/ 98905 h 196500"/>
                <a:gd name="connsiteX3" fmla="*/ 67465 w 170300"/>
                <a:gd name="connsiteY3" fmla="*/ 60915 h 196500"/>
                <a:gd name="connsiteX4" fmla="*/ 101525 w 170300"/>
                <a:gd name="connsiteY4" fmla="*/ 46505 h 196500"/>
                <a:gd name="connsiteX5" fmla="*/ 146065 w 170300"/>
                <a:gd name="connsiteY5" fmla="*/ 63535 h 196500"/>
                <a:gd name="connsiteX6" fmla="*/ 151305 w 170300"/>
                <a:gd name="connsiteY6" fmla="*/ 62225 h 196500"/>
                <a:gd name="connsiteX7" fmla="*/ 163095 w 170300"/>
                <a:gd name="connsiteY7" fmla="*/ 33405 h 196500"/>
                <a:gd name="connsiteX8" fmla="*/ 161785 w 170300"/>
                <a:gd name="connsiteY8" fmla="*/ 29475 h 196500"/>
                <a:gd name="connsiteX9" fmla="*/ 142135 w 170300"/>
                <a:gd name="connsiteY9" fmla="*/ 17685 h 196500"/>
                <a:gd name="connsiteX10" fmla="*/ 98905 w 170300"/>
                <a:gd name="connsiteY10" fmla="*/ 9825 h 196500"/>
                <a:gd name="connsiteX11" fmla="*/ 53055 w 170300"/>
                <a:gd name="connsiteY11" fmla="*/ 21615 h 196500"/>
                <a:gd name="connsiteX12" fmla="*/ 21615 w 170300"/>
                <a:gd name="connsiteY12" fmla="*/ 53055 h 196500"/>
                <a:gd name="connsiteX13" fmla="*/ 9825 w 170300"/>
                <a:gd name="connsiteY13" fmla="*/ 100215 h 196500"/>
                <a:gd name="connsiteX14" fmla="*/ 20305 w 170300"/>
                <a:gd name="connsiteY14" fmla="*/ 147375 h 196500"/>
                <a:gd name="connsiteX15" fmla="*/ 51745 w 170300"/>
                <a:gd name="connsiteY15" fmla="*/ 178815 h 196500"/>
                <a:gd name="connsiteX16" fmla="*/ 97595 w 170300"/>
                <a:gd name="connsiteY16" fmla="*/ 190605 h 196500"/>
                <a:gd name="connsiteX17" fmla="*/ 142135 w 170300"/>
                <a:gd name="connsiteY17" fmla="*/ 181435 h 196500"/>
                <a:gd name="connsiteX18" fmla="*/ 160475 w 170300"/>
                <a:gd name="connsiteY18" fmla="*/ 169645 h 196500"/>
                <a:gd name="connsiteX19" fmla="*/ 161785 w 170300"/>
                <a:gd name="connsiteY19" fmla="*/ 165715 h 196500"/>
                <a:gd name="connsiteX20" fmla="*/ 149995 w 170300"/>
                <a:gd name="connsiteY20" fmla="*/ 136895 h 196500"/>
                <a:gd name="connsiteX21" fmla="*/ 144755 w 170300"/>
                <a:gd name="connsiteY21" fmla="*/ 135585 h 196500"/>
                <a:gd name="connsiteX22" fmla="*/ 101525 w 170300"/>
                <a:gd name="connsiteY22" fmla="*/ 15130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0300" h="196500">
                  <a:moveTo>
                    <a:pt x="101525" y="151305"/>
                  </a:moveTo>
                  <a:cubicBezTo>
                    <a:pt x="87115" y="151305"/>
                    <a:pt x="75325" y="146065"/>
                    <a:pt x="67465" y="136895"/>
                  </a:cubicBezTo>
                  <a:cubicBezTo>
                    <a:pt x="58295" y="127725"/>
                    <a:pt x="54365" y="114625"/>
                    <a:pt x="54365" y="98905"/>
                  </a:cubicBezTo>
                  <a:cubicBezTo>
                    <a:pt x="54365" y="83185"/>
                    <a:pt x="58295" y="71395"/>
                    <a:pt x="67465" y="60915"/>
                  </a:cubicBezTo>
                  <a:cubicBezTo>
                    <a:pt x="76635" y="51745"/>
                    <a:pt x="88425" y="46505"/>
                    <a:pt x="101525" y="46505"/>
                  </a:cubicBezTo>
                  <a:cubicBezTo>
                    <a:pt x="118555" y="46505"/>
                    <a:pt x="134275" y="51745"/>
                    <a:pt x="146065" y="63535"/>
                  </a:cubicBezTo>
                  <a:cubicBezTo>
                    <a:pt x="147375" y="64845"/>
                    <a:pt x="149995" y="64845"/>
                    <a:pt x="151305" y="62225"/>
                  </a:cubicBezTo>
                  <a:lnTo>
                    <a:pt x="163095" y="33405"/>
                  </a:lnTo>
                  <a:cubicBezTo>
                    <a:pt x="163095" y="32095"/>
                    <a:pt x="163095" y="30785"/>
                    <a:pt x="161785" y="29475"/>
                  </a:cubicBezTo>
                  <a:cubicBezTo>
                    <a:pt x="156545" y="25545"/>
                    <a:pt x="149995" y="20305"/>
                    <a:pt x="142135" y="17685"/>
                  </a:cubicBezTo>
                  <a:cubicBezTo>
                    <a:pt x="129035" y="12445"/>
                    <a:pt x="115935" y="9825"/>
                    <a:pt x="98905" y="9825"/>
                  </a:cubicBezTo>
                  <a:cubicBezTo>
                    <a:pt x="81875" y="9825"/>
                    <a:pt x="66155" y="13755"/>
                    <a:pt x="53055" y="21615"/>
                  </a:cubicBezTo>
                  <a:cubicBezTo>
                    <a:pt x="39955" y="29475"/>
                    <a:pt x="29475" y="39955"/>
                    <a:pt x="21615" y="53055"/>
                  </a:cubicBezTo>
                  <a:cubicBezTo>
                    <a:pt x="13755" y="66155"/>
                    <a:pt x="9825" y="83185"/>
                    <a:pt x="9825" y="100215"/>
                  </a:cubicBezTo>
                  <a:cubicBezTo>
                    <a:pt x="9825" y="118555"/>
                    <a:pt x="13755" y="132965"/>
                    <a:pt x="20305" y="147375"/>
                  </a:cubicBezTo>
                  <a:cubicBezTo>
                    <a:pt x="28165" y="160475"/>
                    <a:pt x="38645" y="170955"/>
                    <a:pt x="51745" y="178815"/>
                  </a:cubicBezTo>
                  <a:cubicBezTo>
                    <a:pt x="64845" y="186675"/>
                    <a:pt x="80565" y="190605"/>
                    <a:pt x="97595" y="190605"/>
                  </a:cubicBezTo>
                  <a:cubicBezTo>
                    <a:pt x="114625" y="190605"/>
                    <a:pt x="129035" y="187985"/>
                    <a:pt x="142135" y="181435"/>
                  </a:cubicBezTo>
                  <a:cubicBezTo>
                    <a:pt x="148685" y="177505"/>
                    <a:pt x="153925" y="174885"/>
                    <a:pt x="160475" y="169645"/>
                  </a:cubicBezTo>
                  <a:cubicBezTo>
                    <a:pt x="161785" y="168335"/>
                    <a:pt x="161785" y="167025"/>
                    <a:pt x="161785" y="165715"/>
                  </a:cubicBezTo>
                  <a:lnTo>
                    <a:pt x="149995" y="136895"/>
                  </a:lnTo>
                  <a:cubicBezTo>
                    <a:pt x="148685" y="134275"/>
                    <a:pt x="146065" y="134275"/>
                    <a:pt x="144755" y="135585"/>
                  </a:cubicBezTo>
                  <a:cubicBezTo>
                    <a:pt x="134275" y="144755"/>
                    <a:pt x="119865" y="151305"/>
                    <a:pt x="101525" y="15130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xmlns="" id="{6965D856-5814-4EB5-8121-FEC2C335B65F}"/>
                </a:ext>
              </a:extLst>
            </p:cNvPr>
            <p:cNvSpPr/>
            <p:nvPr/>
          </p:nvSpPr>
          <p:spPr>
            <a:xfrm>
              <a:off x="11759438" y="1599468"/>
              <a:ext cx="52400" cy="183400"/>
            </a:xfrm>
            <a:custGeom>
              <a:avLst/>
              <a:gdLst>
                <a:gd name="connsiteX0" fmla="*/ 9825 w 52400"/>
                <a:gd name="connsiteY0" fmla="*/ 12959 h 183400"/>
                <a:gd name="connsiteX1" fmla="*/ 9825 w 52400"/>
                <a:gd name="connsiteY1" fmla="*/ 183259 h 183400"/>
                <a:gd name="connsiteX2" fmla="*/ 12445 w 52400"/>
                <a:gd name="connsiteY2" fmla="*/ 185879 h 183400"/>
                <a:gd name="connsiteX3" fmla="*/ 49125 w 52400"/>
                <a:gd name="connsiteY3" fmla="*/ 185879 h 183400"/>
                <a:gd name="connsiteX4" fmla="*/ 51745 w 52400"/>
                <a:gd name="connsiteY4" fmla="*/ 183259 h 183400"/>
                <a:gd name="connsiteX5" fmla="*/ 51745 w 52400"/>
                <a:gd name="connsiteY5" fmla="*/ 12959 h 183400"/>
                <a:gd name="connsiteX6" fmla="*/ 49125 w 52400"/>
                <a:gd name="connsiteY6" fmla="*/ 10339 h 183400"/>
                <a:gd name="connsiteX7" fmla="*/ 12445 w 52400"/>
                <a:gd name="connsiteY7" fmla="*/ 10339 h 183400"/>
                <a:gd name="connsiteX8" fmla="*/ 9825 w 52400"/>
                <a:gd name="connsiteY8" fmla="*/ 12959 h 18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400" h="183400">
                  <a:moveTo>
                    <a:pt x="9825" y="12959"/>
                  </a:moveTo>
                  <a:lnTo>
                    <a:pt x="9825" y="183259"/>
                  </a:lnTo>
                  <a:cubicBezTo>
                    <a:pt x="9825" y="184569"/>
                    <a:pt x="11135" y="185879"/>
                    <a:pt x="12445" y="185879"/>
                  </a:cubicBezTo>
                  <a:lnTo>
                    <a:pt x="49125" y="185879"/>
                  </a:lnTo>
                  <a:cubicBezTo>
                    <a:pt x="50435" y="185879"/>
                    <a:pt x="51745" y="184569"/>
                    <a:pt x="51745" y="183259"/>
                  </a:cubicBezTo>
                  <a:lnTo>
                    <a:pt x="51745" y="12959"/>
                  </a:lnTo>
                  <a:cubicBezTo>
                    <a:pt x="51745" y="11649"/>
                    <a:pt x="50435" y="10339"/>
                    <a:pt x="49125" y="10339"/>
                  </a:cubicBezTo>
                  <a:lnTo>
                    <a:pt x="12445" y="10339"/>
                  </a:lnTo>
                  <a:cubicBezTo>
                    <a:pt x="11135" y="9029"/>
                    <a:pt x="9825" y="10339"/>
                    <a:pt x="9825" y="1295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B91EB4F2-9A3E-413B-B77B-68483ED5D43F}"/>
                </a:ext>
              </a:extLst>
            </p:cNvPr>
            <p:cNvSpPr/>
            <p:nvPr/>
          </p:nvSpPr>
          <p:spPr>
            <a:xfrm>
              <a:off x="11188278" y="1597362"/>
              <a:ext cx="157200" cy="196500"/>
            </a:xfrm>
            <a:custGeom>
              <a:avLst/>
              <a:gdLst>
                <a:gd name="connsiteX0" fmla="*/ 118555 w 157200"/>
                <a:gd name="connsiteY0" fmla="*/ 92355 h 196500"/>
                <a:gd name="connsiteX1" fmla="*/ 88425 w 157200"/>
                <a:gd name="connsiteY1" fmla="*/ 81875 h 196500"/>
                <a:gd name="connsiteX2" fmla="*/ 63535 w 157200"/>
                <a:gd name="connsiteY2" fmla="*/ 72705 h 196500"/>
                <a:gd name="connsiteX3" fmla="*/ 55675 w 157200"/>
                <a:gd name="connsiteY3" fmla="*/ 59605 h 196500"/>
                <a:gd name="connsiteX4" fmla="*/ 62225 w 157200"/>
                <a:gd name="connsiteY4" fmla="*/ 47815 h 196500"/>
                <a:gd name="connsiteX5" fmla="*/ 79255 w 157200"/>
                <a:gd name="connsiteY5" fmla="*/ 43885 h 196500"/>
                <a:gd name="connsiteX6" fmla="*/ 104145 w 157200"/>
                <a:gd name="connsiteY6" fmla="*/ 47815 h 196500"/>
                <a:gd name="connsiteX7" fmla="*/ 127725 w 157200"/>
                <a:gd name="connsiteY7" fmla="*/ 58295 h 196500"/>
                <a:gd name="connsiteX8" fmla="*/ 131655 w 157200"/>
                <a:gd name="connsiteY8" fmla="*/ 56985 h 196500"/>
                <a:gd name="connsiteX9" fmla="*/ 142135 w 157200"/>
                <a:gd name="connsiteY9" fmla="*/ 30785 h 196500"/>
                <a:gd name="connsiteX10" fmla="*/ 140825 w 157200"/>
                <a:gd name="connsiteY10" fmla="*/ 26855 h 196500"/>
                <a:gd name="connsiteX11" fmla="*/ 115935 w 157200"/>
                <a:gd name="connsiteY11" fmla="*/ 15065 h 196500"/>
                <a:gd name="connsiteX12" fmla="*/ 81875 w 157200"/>
                <a:gd name="connsiteY12" fmla="*/ 9825 h 196500"/>
                <a:gd name="connsiteX13" fmla="*/ 34715 w 157200"/>
                <a:gd name="connsiteY13" fmla="*/ 22925 h 196500"/>
                <a:gd name="connsiteX14" fmla="*/ 16375 w 157200"/>
                <a:gd name="connsiteY14" fmla="*/ 62225 h 196500"/>
                <a:gd name="connsiteX15" fmla="*/ 24235 w 157200"/>
                <a:gd name="connsiteY15" fmla="*/ 89735 h 196500"/>
                <a:gd name="connsiteX16" fmla="*/ 43885 w 157200"/>
                <a:gd name="connsiteY16" fmla="*/ 105455 h 196500"/>
                <a:gd name="connsiteX17" fmla="*/ 72705 w 157200"/>
                <a:gd name="connsiteY17" fmla="*/ 115935 h 196500"/>
                <a:gd name="connsiteX18" fmla="*/ 98905 w 157200"/>
                <a:gd name="connsiteY18" fmla="*/ 126415 h 196500"/>
                <a:gd name="connsiteX19" fmla="*/ 106765 w 157200"/>
                <a:gd name="connsiteY19" fmla="*/ 136895 h 196500"/>
                <a:gd name="connsiteX20" fmla="*/ 97595 w 157200"/>
                <a:gd name="connsiteY20" fmla="*/ 153925 h 196500"/>
                <a:gd name="connsiteX21" fmla="*/ 81875 w 157200"/>
                <a:gd name="connsiteY21" fmla="*/ 156545 h 196500"/>
                <a:gd name="connsiteX22" fmla="*/ 50435 w 157200"/>
                <a:gd name="connsiteY22" fmla="*/ 151305 h 196500"/>
                <a:gd name="connsiteX23" fmla="*/ 25545 w 157200"/>
                <a:gd name="connsiteY23" fmla="*/ 138205 h 196500"/>
                <a:gd name="connsiteX24" fmla="*/ 20305 w 157200"/>
                <a:gd name="connsiteY24" fmla="*/ 139515 h 196500"/>
                <a:gd name="connsiteX25" fmla="*/ 9825 w 157200"/>
                <a:gd name="connsiteY25" fmla="*/ 164405 h 196500"/>
                <a:gd name="connsiteX26" fmla="*/ 11135 w 157200"/>
                <a:gd name="connsiteY26" fmla="*/ 168335 h 196500"/>
                <a:gd name="connsiteX27" fmla="*/ 39955 w 157200"/>
                <a:gd name="connsiteY27" fmla="*/ 184055 h 196500"/>
                <a:gd name="connsiteX28" fmla="*/ 79255 w 157200"/>
                <a:gd name="connsiteY28" fmla="*/ 190605 h 196500"/>
                <a:gd name="connsiteX29" fmla="*/ 127725 w 157200"/>
                <a:gd name="connsiteY29" fmla="*/ 176195 h 196500"/>
                <a:gd name="connsiteX30" fmla="*/ 147375 w 157200"/>
                <a:gd name="connsiteY30" fmla="*/ 136895 h 196500"/>
                <a:gd name="connsiteX31" fmla="*/ 138205 w 157200"/>
                <a:gd name="connsiteY31" fmla="*/ 108075 h 196500"/>
                <a:gd name="connsiteX32" fmla="*/ 118555 w 157200"/>
                <a:gd name="connsiteY32" fmla="*/ 9235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200" h="196500">
                  <a:moveTo>
                    <a:pt x="118555" y="92355"/>
                  </a:moveTo>
                  <a:cubicBezTo>
                    <a:pt x="110695" y="88425"/>
                    <a:pt x="100215" y="84495"/>
                    <a:pt x="88425" y="81875"/>
                  </a:cubicBezTo>
                  <a:cubicBezTo>
                    <a:pt x="76635" y="77945"/>
                    <a:pt x="68775" y="75325"/>
                    <a:pt x="63535" y="72705"/>
                  </a:cubicBezTo>
                  <a:cubicBezTo>
                    <a:pt x="58295" y="70085"/>
                    <a:pt x="55675" y="66155"/>
                    <a:pt x="55675" y="59605"/>
                  </a:cubicBezTo>
                  <a:cubicBezTo>
                    <a:pt x="55675" y="54365"/>
                    <a:pt x="58295" y="50435"/>
                    <a:pt x="62225" y="47815"/>
                  </a:cubicBezTo>
                  <a:cubicBezTo>
                    <a:pt x="66155" y="45195"/>
                    <a:pt x="72705" y="43885"/>
                    <a:pt x="79255" y="43885"/>
                  </a:cubicBezTo>
                  <a:cubicBezTo>
                    <a:pt x="87115" y="43885"/>
                    <a:pt x="94975" y="45195"/>
                    <a:pt x="104145" y="47815"/>
                  </a:cubicBezTo>
                  <a:cubicBezTo>
                    <a:pt x="112005" y="50435"/>
                    <a:pt x="119865" y="53055"/>
                    <a:pt x="127725" y="58295"/>
                  </a:cubicBezTo>
                  <a:cubicBezTo>
                    <a:pt x="129035" y="59605"/>
                    <a:pt x="131655" y="58295"/>
                    <a:pt x="131655" y="56985"/>
                  </a:cubicBezTo>
                  <a:lnTo>
                    <a:pt x="142135" y="30785"/>
                  </a:lnTo>
                  <a:cubicBezTo>
                    <a:pt x="142135" y="29475"/>
                    <a:pt x="142135" y="28165"/>
                    <a:pt x="140825" y="26855"/>
                  </a:cubicBezTo>
                  <a:cubicBezTo>
                    <a:pt x="132965" y="21615"/>
                    <a:pt x="125105" y="18995"/>
                    <a:pt x="115935" y="15065"/>
                  </a:cubicBezTo>
                  <a:cubicBezTo>
                    <a:pt x="104145" y="11135"/>
                    <a:pt x="93665" y="9825"/>
                    <a:pt x="81875" y="9825"/>
                  </a:cubicBezTo>
                  <a:cubicBezTo>
                    <a:pt x="63535" y="9825"/>
                    <a:pt x="47815" y="13755"/>
                    <a:pt x="34715" y="22925"/>
                  </a:cubicBezTo>
                  <a:cubicBezTo>
                    <a:pt x="21615" y="32095"/>
                    <a:pt x="16375" y="45195"/>
                    <a:pt x="16375" y="62225"/>
                  </a:cubicBezTo>
                  <a:cubicBezTo>
                    <a:pt x="16375" y="74015"/>
                    <a:pt x="18995" y="81875"/>
                    <a:pt x="24235" y="89735"/>
                  </a:cubicBezTo>
                  <a:cubicBezTo>
                    <a:pt x="29475" y="96285"/>
                    <a:pt x="36025" y="101525"/>
                    <a:pt x="43885" y="105455"/>
                  </a:cubicBezTo>
                  <a:cubicBezTo>
                    <a:pt x="51745" y="109385"/>
                    <a:pt x="60915" y="112005"/>
                    <a:pt x="72705" y="115935"/>
                  </a:cubicBezTo>
                  <a:cubicBezTo>
                    <a:pt x="84495" y="119865"/>
                    <a:pt x="93665" y="122485"/>
                    <a:pt x="98905" y="126415"/>
                  </a:cubicBezTo>
                  <a:cubicBezTo>
                    <a:pt x="102835" y="129035"/>
                    <a:pt x="105455" y="131655"/>
                    <a:pt x="106765" y="136895"/>
                  </a:cubicBezTo>
                  <a:cubicBezTo>
                    <a:pt x="108075" y="144755"/>
                    <a:pt x="104145" y="151305"/>
                    <a:pt x="97595" y="153925"/>
                  </a:cubicBezTo>
                  <a:cubicBezTo>
                    <a:pt x="93665" y="155235"/>
                    <a:pt x="88425" y="156545"/>
                    <a:pt x="81875" y="156545"/>
                  </a:cubicBezTo>
                  <a:cubicBezTo>
                    <a:pt x="72705" y="156545"/>
                    <a:pt x="62225" y="155235"/>
                    <a:pt x="50435" y="151305"/>
                  </a:cubicBezTo>
                  <a:cubicBezTo>
                    <a:pt x="41265" y="147375"/>
                    <a:pt x="33405" y="143445"/>
                    <a:pt x="25545" y="138205"/>
                  </a:cubicBezTo>
                  <a:cubicBezTo>
                    <a:pt x="24235" y="136895"/>
                    <a:pt x="21615" y="136895"/>
                    <a:pt x="20305" y="139515"/>
                  </a:cubicBezTo>
                  <a:lnTo>
                    <a:pt x="9825" y="164405"/>
                  </a:lnTo>
                  <a:cubicBezTo>
                    <a:pt x="9825" y="165715"/>
                    <a:pt x="9825" y="167025"/>
                    <a:pt x="11135" y="168335"/>
                  </a:cubicBezTo>
                  <a:cubicBezTo>
                    <a:pt x="18995" y="174885"/>
                    <a:pt x="29475" y="180125"/>
                    <a:pt x="39955" y="184055"/>
                  </a:cubicBezTo>
                  <a:cubicBezTo>
                    <a:pt x="53055" y="187985"/>
                    <a:pt x="66155" y="190605"/>
                    <a:pt x="79255" y="190605"/>
                  </a:cubicBezTo>
                  <a:cubicBezTo>
                    <a:pt x="98905" y="190605"/>
                    <a:pt x="115935" y="185365"/>
                    <a:pt x="127725" y="176195"/>
                  </a:cubicBezTo>
                  <a:cubicBezTo>
                    <a:pt x="140825" y="167025"/>
                    <a:pt x="147375" y="153925"/>
                    <a:pt x="147375" y="136895"/>
                  </a:cubicBezTo>
                  <a:cubicBezTo>
                    <a:pt x="147375" y="125105"/>
                    <a:pt x="144755" y="115935"/>
                    <a:pt x="138205" y="108075"/>
                  </a:cubicBezTo>
                  <a:cubicBezTo>
                    <a:pt x="134275" y="101525"/>
                    <a:pt x="126415" y="94975"/>
                    <a:pt x="118555" y="9235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xmlns="" id="{6EC90F62-A737-4545-87E2-10803FACFCF9}"/>
                </a:ext>
              </a:extLst>
            </p:cNvPr>
            <p:cNvSpPr/>
            <p:nvPr/>
          </p:nvSpPr>
          <p:spPr>
            <a:xfrm>
              <a:off x="1097605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xmlns="" id="{5328565B-D098-4FA8-BB4D-7BC271586127}"/>
                </a:ext>
              </a:extLst>
            </p:cNvPr>
            <p:cNvSpPr/>
            <p:nvPr/>
          </p:nvSpPr>
          <p:spPr>
            <a:xfrm>
              <a:off x="11348098" y="1594742"/>
              <a:ext cx="196500" cy="196500"/>
            </a:xfrm>
            <a:custGeom>
              <a:avLst/>
              <a:gdLst>
                <a:gd name="connsiteX0" fmla="*/ 189295 w 196500"/>
                <a:gd name="connsiteY0" fmla="*/ 13755 h 196500"/>
                <a:gd name="connsiteX1" fmla="*/ 164405 w 196500"/>
                <a:gd name="connsiteY1" fmla="*/ 13755 h 196500"/>
                <a:gd name="connsiteX2" fmla="*/ 161785 w 196500"/>
                <a:gd name="connsiteY2" fmla="*/ 15065 h 196500"/>
                <a:gd name="connsiteX3" fmla="*/ 157855 w 196500"/>
                <a:gd name="connsiteY3" fmla="*/ 25545 h 196500"/>
                <a:gd name="connsiteX4" fmla="*/ 153925 w 196500"/>
                <a:gd name="connsiteY4" fmla="*/ 36025 h 196500"/>
                <a:gd name="connsiteX5" fmla="*/ 153925 w 196500"/>
                <a:gd name="connsiteY5" fmla="*/ 36025 h 196500"/>
                <a:gd name="connsiteX6" fmla="*/ 151305 w 196500"/>
                <a:gd name="connsiteY6" fmla="*/ 41265 h 196500"/>
                <a:gd name="connsiteX7" fmla="*/ 147375 w 196500"/>
                <a:gd name="connsiteY7" fmla="*/ 36025 h 196500"/>
                <a:gd name="connsiteX8" fmla="*/ 146065 w 196500"/>
                <a:gd name="connsiteY8" fmla="*/ 33405 h 196500"/>
                <a:gd name="connsiteX9" fmla="*/ 142135 w 196500"/>
                <a:gd name="connsiteY9" fmla="*/ 29475 h 196500"/>
                <a:gd name="connsiteX10" fmla="*/ 139515 w 196500"/>
                <a:gd name="connsiteY10" fmla="*/ 26855 h 196500"/>
                <a:gd name="connsiteX11" fmla="*/ 135585 w 196500"/>
                <a:gd name="connsiteY11" fmla="*/ 22925 h 196500"/>
                <a:gd name="connsiteX12" fmla="*/ 132965 w 196500"/>
                <a:gd name="connsiteY12" fmla="*/ 21615 h 196500"/>
                <a:gd name="connsiteX13" fmla="*/ 126415 w 196500"/>
                <a:gd name="connsiteY13" fmla="*/ 17685 h 196500"/>
                <a:gd name="connsiteX14" fmla="*/ 92355 w 196500"/>
                <a:gd name="connsiteY14" fmla="*/ 9825 h 196500"/>
                <a:gd name="connsiteX15" fmla="*/ 49125 w 196500"/>
                <a:gd name="connsiteY15" fmla="*/ 21615 h 196500"/>
                <a:gd name="connsiteX16" fmla="*/ 20305 w 196500"/>
                <a:gd name="connsiteY16" fmla="*/ 53055 h 196500"/>
                <a:gd name="connsiteX17" fmla="*/ 9825 w 196500"/>
                <a:gd name="connsiteY17" fmla="*/ 100215 h 196500"/>
                <a:gd name="connsiteX18" fmla="*/ 20305 w 196500"/>
                <a:gd name="connsiteY18" fmla="*/ 147375 h 196500"/>
                <a:gd name="connsiteX19" fmla="*/ 49125 w 196500"/>
                <a:gd name="connsiteY19" fmla="*/ 180125 h 196500"/>
                <a:gd name="connsiteX20" fmla="*/ 92355 w 196500"/>
                <a:gd name="connsiteY20" fmla="*/ 191915 h 196500"/>
                <a:gd name="connsiteX21" fmla="*/ 126415 w 196500"/>
                <a:gd name="connsiteY21" fmla="*/ 184055 h 196500"/>
                <a:gd name="connsiteX22" fmla="*/ 132965 w 196500"/>
                <a:gd name="connsiteY22" fmla="*/ 180125 h 196500"/>
                <a:gd name="connsiteX23" fmla="*/ 134275 w 196500"/>
                <a:gd name="connsiteY23" fmla="*/ 178815 h 196500"/>
                <a:gd name="connsiteX24" fmla="*/ 138205 w 196500"/>
                <a:gd name="connsiteY24" fmla="*/ 174885 h 196500"/>
                <a:gd name="connsiteX25" fmla="*/ 139515 w 196500"/>
                <a:gd name="connsiteY25" fmla="*/ 173575 h 196500"/>
                <a:gd name="connsiteX26" fmla="*/ 149995 w 196500"/>
                <a:gd name="connsiteY26" fmla="*/ 161785 h 196500"/>
                <a:gd name="connsiteX27" fmla="*/ 149995 w 196500"/>
                <a:gd name="connsiteY27" fmla="*/ 170955 h 196500"/>
                <a:gd name="connsiteX28" fmla="*/ 149995 w 196500"/>
                <a:gd name="connsiteY28" fmla="*/ 187985 h 196500"/>
                <a:gd name="connsiteX29" fmla="*/ 152615 w 196500"/>
                <a:gd name="connsiteY29" fmla="*/ 190605 h 196500"/>
                <a:gd name="connsiteX30" fmla="*/ 189295 w 196500"/>
                <a:gd name="connsiteY30" fmla="*/ 190605 h 196500"/>
                <a:gd name="connsiteX31" fmla="*/ 191915 w 196500"/>
                <a:gd name="connsiteY31" fmla="*/ 187985 h 196500"/>
                <a:gd name="connsiteX32" fmla="*/ 191915 w 196500"/>
                <a:gd name="connsiteY32" fmla="*/ 16375 h 196500"/>
                <a:gd name="connsiteX33" fmla="*/ 189295 w 196500"/>
                <a:gd name="connsiteY33" fmla="*/ 13755 h 196500"/>
                <a:gd name="connsiteX34" fmla="*/ 101525 w 196500"/>
                <a:gd name="connsiteY34" fmla="*/ 160475 h 196500"/>
                <a:gd name="connsiteX35" fmla="*/ 51745 w 196500"/>
                <a:gd name="connsiteY35" fmla="*/ 104145 h 196500"/>
                <a:gd name="connsiteX36" fmla="*/ 101525 w 196500"/>
                <a:gd name="connsiteY36" fmla="*/ 47815 h 196500"/>
                <a:gd name="connsiteX37" fmla="*/ 151305 w 196500"/>
                <a:gd name="connsiteY37" fmla="*/ 104145 h 196500"/>
                <a:gd name="connsiteX38" fmla="*/ 101525 w 196500"/>
                <a:gd name="connsiteY38" fmla="*/ 16047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6500" h="196500">
                  <a:moveTo>
                    <a:pt x="189295" y="13755"/>
                  </a:moveTo>
                  <a:lnTo>
                    <a:pt x="164405" y="13755"/>
                  </a:lnTo>
                  <a:cubicBezTo>
                    <a:pt x="163095" y="13755"/>
                    <a:pt x="161785" y="15065"/>
                    <a:pt x="161785" y="15065"/>
                  </a:cubicBezTo>
                  <a:lnTo>
                    <a:pt x="157855" y="25545"/>
                  </a:lnTo>
                  <a:lnTo>
                    <a:pt x="153925" y="36025"/>
                  </a:lnTo>
                  <a:lnTo>
                    <a:pt x="153925" y="36025"/>
                  </a:lnTo>
                  <a:lnTo>
                    <a:pt x="151305" y="41265"/>
                  </a:lnTo>
                  <a:cubicBezTo>
                    <a:pt x="149995" y="38645"/>
                    <a:pt x="148685" y="37335"/>
                    <a:pt x="147375" y="36025"/>
                  </a:cubicBezTo>
                  <a:cubicBezTo>
                    <a:pt x="147375" y="34715"/>
                    <a:pt x="146065" y="34715"/>
                    <a:pt x="146065" y="33405"/>
                  </a:cubicBezTo>
                  <a:cubicBezTo>
                    <a:pt x="144755" y="32095"/>
                    <a:pt x="143445" y="30785"/>
                    <a:pt x="142135" y="29475"/>
                  </a:cubicBezTo>
                  <a:cubicBezTo>
                    <a:pt x="140825" y="28165"/>
                    <a:pt x="140825" y="28165"/>
                    <a:pt x="139515" y="26855"/>
                  </a:cubicBezTo>
                  <a:cubicBezTo>
                    <a:pt x="138205" y="25545"/>
                    <a:pt x="136895" y="24235"/>
                    <a:pt x="135585" y="22925"/>
                  </a:cubicBezTo>
                  <a:cubicBezTo>
                    <a:pt x="134275" y="22925"/>
                    <a:pt x="134275" y="21615"/>
                    <a:pt x="132965" y="21615"/>
                  </a:cubicBezTo>
                  <a:cubicBezTo>
                    <a:pt x="130345" y="20305"/>
                    <a:pt x="129035" y="18995"/>
                    <a:pt x="126415" y="17685"/>
                  </a:cubicBezTo>
                  <a:cubicBezTo>
                    <a:pt x="115935" y="12445"/>
                    <a:pt x="105455" y="9825"/>
                    <a:pt x="92355" y="9825"/>
                  </a:cubicBezTo>
                  <a:cubicBezTo>
                    <a:pt x="76635" y="9825"/>
                    <a:pt x="60915" y="13755"/>
                    <a:pt x="49125" y="21615"/>
                  </a:cubicBezTo>
                  <a:cubicBezTo>
                    <a:pt x="36025" y="29475"/>
                    <a:pt x="26855" y="39955"/>
                    <a:pt x="20305" y="53055"/>
                  </a:cubicBezTo>
                  <a:cubicBezTo>
                    <a:pt x="13755" y="66155"/>
                    <a:pt x="9825" y="81875"/>
                    <a:pt x="9825" y="100215"/>
                  </a:cubicBezTo>
                  <a:cubicBezTo>
                    <a:pt x="9825" y="118555"/>
                    <a:pt x="13755" y="134275"/>
                    <a:pt x="20305" y="147375"/>
                  </a:cubicBezTo>
                  <a:cubicBezTo>
                    <a:pt x="26855" y="161785"/>
                    <a:pt x="37335" y="172265"/>
                    <a:pt x="49125" y="180125"/>
                  </a:cubicBezTo>
                  <a:cubicBezTo>
                    <a:pt x="62225" y="187985"/>
                    <a:pt x="76635" y="191915"/>
                    <a:pt x="92355" y="191915"/>
                  </a:cubicBezTo>
                  <a:cubicBezTo>
                    <a:pt x="105455" y="191915"/>
                    <a:pt x="117245" y="189295"/>
                    <a:pt x="126415" y="184055"/>
                  </a:cubicBezTo>
                  <a:cubicBezTo>
                    <a:pt x="129035" y="182745"/>
                    <a:pt x="130345" y="181435"/>
                    <a:pt x="132965" y="180125"/>
                  </a:cubicBezTo>
                  <a:cubicBezTo>
                    <a:pt x="132965" y="180125"/>
                    <a:pt x="134275" y="178815"/>
                    <a:pt x="134275" y="178815"/>
                  </a:cubicBezTo>
                  <a:cubicBezTo>
                    <a:pt x="135585" y="177505"/>
                    <a:pt x="136895" y="176195"/>
                    <a:pt x="138205" y="174885"/>
                  </a:cubicBezTo>
                  <a:cubicBezTo>
                    <a:pt x="138205" y="174885"/>
                    <a:pt x="139515" y="173575"/>
                    <a:pt x="139515" y="173575"/>
                  </a:cubicBezTo>
                  <a:cubicBezTo>
                    <a:pt x="143445" y="169645"/>
                    <a:pt x="147375" y="165715"/>
                    <a:pt x="149995" y="161785"/>
                  </a:cubicBezTo>
                  <a:lnTo>
                    <a:pt x="149995" y="170955"/>
                  </a:lnTo>
                  <a:lnTo>
                    <a:pt x="149995" y="187985"/>
                  </a:lnTo>
                  <a:cubicBezTo>
                    <a:pt x="149995" y="189295"/>
                    <a:pt x="151305" y="190605"/>
                    <a:pt x="152615" y="190605"/>
                  </a:cubicBezTo>
                  <a:lnTo>
                    <a:pt x="189295" y="190605"/>
                  </a:lnTo>
                  <a:cubicBezTo>
                    <a:pt x="190605" y="190605"/>
                    <a:pt x="191915" y="189295"/>
                    <a:pt x="191915" y="187985"/>
                  </a:cubicBezTo>
                  <a:lnTo>
                    <a:pt x="191915" y="16375"/>
                  </a:lnTo>
                  <a:cubicBezTo>
                    <a:pt x="193225" y="15065"/>
                    <a:pt x="191915" y="13755"/>
                    <a:pt x="189295" y="13755"/>
                  </a:cubicBezTo>
                  <a:close/>
                  <a:moveTo>
                    <a:pt x="101525" y="160475"/>
                  </a:moveTo>
                  <a:cubicBezTo>
                    <a:pt x="74015" y="160475"/>
                    <a:pt x="51745" y="135585"/>
                    <a:pt x="51745" y="104145"/>
                  </a:cubicBezTo>
                  <a:cubicBezTo>
                    <a:pt x="51745" y="72705"/>
                    <a:pt x="74015" y="47815"/>
                    <a:pt x="101525" y="47815"/>
                  </a:cubicBezTo>
                  <a:cubicBezTo>
                    <a:pt x="129035" y="47815"/>
                    <a:pt x="151305" y="72705"/>
                    <a:pt x="151305" y="104145"/>
                  </a:cubicBezTo>
                  <a:cubicBezTo>
                    <a:pt x="149995" y="135585"/>
                    <a:pt x="127725" y="160475"/>
                    <a:pt x="101525" y="16047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xmlns="" id="{DB23F374-E35F-4B36-9C35-F955C9279463}"/>
                </a:ext>
              </a:extLst>
            </p:cNvPr>
            <p:cNvSpPr/>
            <p:nvPr/>
          </p:nvSpPr>
          <p:spPr>
            <a:xfrm>
              <a:off x="11557184" y="1598672"/>
              <a:ext cx="183400" cy="196500"/>
            </a:xfrm>
            <a:custGeom>
              <a:avLst/>
              <a:gdLst>
                <a:gd name="connsiteX0" fmla="*/ 143959 w 183400"/>
                <a:gd name="connsiteY0" fmla="*/ 12445 h 196500"/>
                <a:gd name="connsiteX1" fmla="*/ 98109 w 183400"/>
                <a:gd name="connsiteY1" fmla="*/ 131655 h 196500"/>
                <a:gd name="connsiteX2" fmla="*/ 52259 w 183400"/>
                <a:gd name="connsiteY2" fmla="*/ 12445 h 196500"/>
                <a:gd name="connsiteX3" fmla="*/ 49639 w 183400"/>
                <a:gd name="connsiteY3" fmla="*/ 9825 h 196500"/>
                <a:gd name="connsiteX4" fmla="*/ 12959 w 183400"/>
                <a:gd name="connsiteY4" fmla="*/ 9825 h 196500"/>
                <a:gd name="connsiteX5" fmla="*/ 10339 w 183400"/>
                <a:gd name="connsiteY5" fmla="*/ 13755 h 196500"/>
                <a:gd name="connsiteX6" fmla="*/ 81079 w 183400"/>
                <a:gd name="connsiteY6" fmla="*/ 185365 h 196500"/>
                <a:gd name="connsiteX7" fmla="*/ 83699 w 183400"/>
                <a:gd name="connsiteY7" fmla="*/ 186675 h 196500"/>
                <a:gd name="connsiteX8" fmla="*/ 111209 w 183400"/>
                <a:gd name="connsiteY8" fmla="*/ 186675 h 196500"/>
                <a:gd name="connsiteX9" fmla="*/ 113829 w 183400"/>
                <a:gd name="connsiteY9" fmla="*/ 185365 h 196500"/>
                <a:gd name="connsiteX10" fmla="*/ 184569 w 183400"/>
                <a:gd name="connsiteY10" fmla="*/ 13755 h 196500"/>
                <a:gd name="connsiteX11" fmla="*/ 181949 w 183400"/>
                <a:gd name="connsiteY11" fmla="*/ 9825 h 196500"/>
                <a:gd name="connsiteX12" fmla="*/ 145269 w 183400"/>
                <a:gd name="connsiteY12" fmla="*/ 9825 h 196500"/>
                <a:gd name="connsiteX13" fmla="*/ 143959 w 183400"/>
                <a:gd name="connsiteY13" fmla="*/ 12445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400" h="196500">
                  <a:moveTo>
                    <a:pt x="143959" y="12445"/>
                  </a:moveTo>
                  <a:lnTo>
                    <a:pt x="98109" y="131655"/>
                  </a:lnTo>
                  <a:lnTo>
                    <a:pt x="52259" y="12445"/>
                  </a:lnTo>
                  <a:cubicBezTo>
                    <a:pt x="52259" y="11135"/>
                    <a:pt x="50949" y="9825"/>
                    <a:pt x="49639" y="9825"/>
                  </a:cubicBezTo>
                  <a:lnTo>
                    <a:pt x="12959" y="9825"/>
                  </a:lnTo>
                  <a:cubicBezTo>
                    <a:pt x="10339" y="9825"/>
                    <a:pt x="9029" y="12445"/>
                    <a:pt x="10339" y="13755"/>
                  </a:cubicBezTo>
                  <a:lnTo>
                    <a:pt x="81079" y="185365"/>
                  </a:lnTo>
                  <a:cubicBezTo>
                    <a:pt x="81079" y="186675"/>
                    <a:pt x="82389" y="186675"/>
                    <a:pt x="83699" y="186675"/>
                  </a:cubicBezTo>
                  <a:lnTo>
                    <a:pt x="111209" y="186675"/>
                  </a:lnTo>
                  <a:cubicBezTo>
                    <a:pt x="112519" y="186675"/>
                    <a:pt x="113829" y="185365"/>
                    <a:pt x="113829" y="185365"/>
                  </a:cubicBezTo>
                  <a:lnTo>
                    <a:pt x="184569" y="13755"/>
                  </a:lnTo>
                  <a:cubicBezTo>
                    <a:pt x="185879" y="11135"/>
                    <a:pt x="184569" y="9825"/>
                    <a:pt x="181949" y="9825"/>
                  </a:cubicBezTo>
                  <a:lnTo>
                    <a:pt x="145269" y="9825"/>
                  </a:lnTo>
                  <a:cubicBezTo>
                    <a:pt x="145269" y="9825"/>
                    <a:pt x="143959" y="11135"/>
                    <a:pt x="143959" y="12445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xmlns="" id="{BAC8ABEC-6B51-476C-B684-371C5627C571}"/>
                </a:ext>
              </a:extLst>
            </p:cNvPr>
            <p:cNvSpPr/>
            <p:nvPr/>
          </p:nvSpPr>
          <p:spPr>
            <a:xfrm>
              <a:off x="10359048" y="1596380"/>
              <a:ext cx="144100" cy="144100"/>
            </a:xfrm>
            <a:custGeom>
              <a:avLst/>
              <a:gdLst>
                <a:gd name="connsiteX0" fmla="*/ 13755 w 144100"/>
                <a:gd name="connsiteY0" fmla="*/ 143118 h 144100"/>
                <a:gd name="connsiteX1" fmla="*/ 139515 w 144100"/>
                <a:gd name="connsiteY1" fmla="*/ 143118 h 144100"/>
                <a:gd name="connsiteX2" fmla="*/ 142135 w 144100"/>
                <a:gd name="connsiteY2" fmla="*/ 140498 h 144100"/>
                <a:gd name="connsiteX3" fmla="*/ 142135 w 144100"/>
                <a:gd name="connsiteY3" fmla="*/ 77618 h 144100"/>
                <a:gd name="connsiteX4" fmla="*/ 140825 w 144100"/>
                <a:gd name="connsiteY4" fmla="*/ 74998 h 144100"/>
                <a:gd name="connsiteX5" fmla="*/ 77945 w 144100"/>
                <a:gd name="connsiteY5" fmla="*/ 10808 h 144100"/>
                <a:gd name="connsiteX6" fmla="*/ 74015 w 144100"/>
                <a:gd name="connsiteY6" fmla="*/ 10808 h 144100"/>
                <a:gd name="connsiteX7" fmla="*/ 11135 w 144100"/>
                <a:gd name="connsiteY7" fmla="*/ 74998 h 144100"/>
                <a:gd name="connsiteX8" fmla="*/ 9825 w 144100"/>
                <a:gd name="connsiteY8" fmla="*/ 77618 h 144100"/>
                <a:gd name="connsiteX9" fmla="*/ 9825 w 144100"/>
                <a:gd name="connsiteY9" fmla="*/ 140498 h 144100"/>
                <a:gd name="connsiteX10" fmla="*/ 13755 w 144100"/>
                <a:gd name="connsiteY10" fmla="*/ 143118 h 14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00" h="144100">
                  <a:moveTo>
                    <a:pt x="13755" y="143118"/>
                  </a:moveTo>
                  <a:lnTo>
                    <a:pt x="139515" y="143118"/>
                  </a:lnTo>
                  <a:cubicBezTo>
                    <a:pt x="140825" y="143118"/>
                    <a:pt x="142135" y="141808"/>
                    <a:pt x="142135" y="140498"/>
                  </a:cubicBezTo>
                  <a:lnTo>
                    <a:pt x="142135" y="77618"/>
                  </a:lnTo>
                  <a:cubicBezTo>
                    <a:pt x="142135" y="76308"/>
                    <a:pt x="142135" y="76308"/>
                    <a:pt x="140825" y="74998"/>
                  </a:cubicBezTo>
                  <a:lnTo>
                    <a:pt x="77945" y="10808"/>
                  </a:lnTo>
                  <a:cubicBezTo>
                    <a:pt x="76635" y="9497"/>
                    <a:pt x="75325" y="9497"/>
                    <a:pt x="74015" y="10808"/>
                  </a:cubicBezTo>
                  <a:lnTo>
                    <a:pt x="11135" y="74998"/>
                  </a:lnTo>
                  <a:cubicBezTo>
                    <a:pt x="11135" y="74998"/>
                    <a:pt x="9825" y="76308"/>
                    <a:pt x="9825" y="77618"/>
                  </a:cubicBezTo>
                  <a:lnTo>
                    <a:pt x="9825" y="140498"/>
                  </a:lnTo>
                  <a:cubicBezTo>
                    <a:pt x="11135" y="141808"/>
                    <a:pt x="12445" y="143118"/>
                    <a:pt x="13755" y="143118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37000">
                  <a:schemeClr val="accent3"/>
                </a:gs>
                <a:gs pos="100000">
                  <a:schemeClr val="accent2"/>
                </a:gs>
              </a:gsLst>
              <a:lin ang="180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9BF5C107-A8DB-4C33-BD52-A8655B16B42C}"/>
                </a:ext>
              </a:extLst>
            </p:cNvPr>
            <p:cNvSpPr/>
            <p:nvPr/>
          </p:nvSpPr>
          <p:spPr>
            <a:xfrm>
              <a:off x="10170690" y="1716572"/>
              <a:ext cx="157200" cy="117900"/>
            </a:xfrm>
            <a:custGeom>
              <a:avLst/>
              <a:gdLst>
                <a:gd name="connsiteX0" fmla="*/ 148403 w 157200"/>
                <a:gd name="connsiteY0" fmla="*/ 21615 h 117900"/>
                <a:gd name="connsiteX1" fmla="*/ 85523 w 157200"/>
                <a:gd name="connsiteY1" fmla="*/ 9825 h 117900"/>
                <a:gd name="connsiteX2" fmla="*/ 16093 w 157200"/>
                <a:gd name="connsiteY2" fmla="*/ 49125 h 117900"/>
                <a:gd name="connsiteX3" fmla="*/ 10853 w 157200"/>
                <a:gd name="connsiteY3" fmla="*/ 66155 h 117900"/>
                <a:gd name="connsiteX4" fmla="*/ 38363 w 157200"/>
                <a:gd name="connsiteY4" fmla="*/ 115935 h 117900"/>
                <a:gd name="connsiteX5" fmla="*/ 55393 w 157200"/>
                <a:gd name="connsiteY5" fmla="*/ 118555 h 117900"/>
                <a:gd name="connsiteX6" fmla="*/ 148403 w 157200"/>
                <a:gd name="connsiteY6" fmla="*/ 66155 h 117900"/>
                <a:gd name="connsiteX7" fmla="*/ 148403 w 157200"/>
                <a:gd name="connsiteY7" fmla="*/ 66155 h 117900"/>
                <a:gd name="connsiteX8" fmla="*/ 148403 w 157200"/>
                <a:gd name="connsiteY8" fmla="*/ 2161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200" h="117900">
                  <a:moveTo>
                    <a:pt x="148403" y="21615"/>
                  </a:moveTo>
                  <a:lnTo>
                    <a:pt x="85523" y="9825"/>
                  </a:lnTo>
                  <a:lnTo>
                    <a:pt x="16093" y="49125"/>
                  </a:lnTo>
                  <a:cubicBezTo>
                    <a:pt x="10853" y="53055"/>
                    <a:pt x="8233" y="59605"/>
                    <a:pt x="10853" y="66155"/>
                  </a:cubicBezTo>
                  <a:lnTo>
                    <a:pt x="38363" y="115935"/>
                  </a:lnTo>
                  <a:cubicBezTo>
                    <a:pt x="42293" y="119865"/>
                    <a:pt x="48843" y="122485"/>
                    <a:pt x="55393" y="118555"/>
                  </a:cubicBezTo>
                  <a:lnTo>
                    <a:pt x="148403" y="66155"/>
                  </a:lnTo>
                  <a:cubicBezTo>
                    <a:pt x="148403" y="66155"/>
                    <a:pt x="148403" y="66155"/>
                    <a:pt x="148403" y="66155"/>
                  </a:cubicBezTo>
                  <a:lnTo>
                    <a:pt x="148403" y="21615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FD2AF01F-0647-40FD-89B6-F27097D9D384}"/>
                </a:ext>
              </a:extLst>
            </p:cNvPr>
            <p:cNvSpPr/>
            <p:nvPr/>
          </p:nvSpPr>
          <p:spPr>
            <a:xfrm>
              <a:off x="10483498" y="1517497"/>
              <a:ext cx="170300" cy="131000"/>
            </a:xfrm>
            <a:custGeom>
              <a:avLst/>
              <a:gdLst>
                <a:gd name="connsiteX0" fmla="*/ 68775 w 170300"/>
                <a:gd name="connsiteY0" fmla="*/ 134230 h 131000"/>
                <a:gd name="connsiteX1" fmla="*/ 159165 w 170300"/>
                <a:gd name="connsiteY1" fmla="*/ 83140 h 131000"/>
                <a:gd name="connsiteX2" fmla="*/ 164405 w 170300"/>
                <a:gd name="connsiteY2" fmla="*/ 66110 h 131000"/>
                <a:gd name="connsiteX3" fmla="*/ 136895 w 170300"/>
                <a:gd name="connsiteY3" fmla="*/ 16330 h 131000"/>
                <a:gd name="connsiteX4" fmla="*/ 119865 w 170300"/>
                <a:gd name="connsiteY4" fmla="*/ 11090 h 131000"/>
                <a:gd name="connsiteX5" fmla="*/ 9825 w 170300"/>
                <a:gd name="connsiteY5" fmla="*/ 72660 h 131000"/>
                <a:gd name="connsiteX6" fmla="*/ 68775 w 170300"/>
                <a:gd name="connsiteY6" fmla="*/ 134230 h 131000"/>
                <a:gd name="connsiteX7" fmla="*/ 68775 w 170300"/>
                <a:gd name="connsiteY7" fmla="*/ 134230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0300" h="131000">
                  <a:moveTo>
                    <a:pt x="68775" y="134230"/>
                  </a:moveTo>
                  <a:lnTo>
                    <a:pt x="159165" y="83140"/>
                  </a:lnTo>
                  <a:cubicBezTo>
                    <a:pt x="164405" y="79210"/>
                    <a:pt x="167025" y="72660"/>
                    <a:pt x="164405" y="66110"/>
                  </a:cubicBezTo>
                  <a:lnTo>
                    <a:pt x="136895" y="16330"/>
                  </a:lnTo>
                  <a:cubicBezTo>
                    <a:pt x="134275" y="9780"/>
                    <a:pt x="126415" y="8470"/>
                    <a:pt x="119865" y="11090"/>
                  </a:cubicBezTo>
                  <a:lnTo>
                    <a:pt x="9825" y="72660"/>
                  </a:lnTo>
                  <a:lnTo>
                    <a:pt x="68775" y="134230"/>
                  </a:lnTo>
                  <a:cubicBezTo>
                    <a:pt x="68775" y="134230"/>
                    <a:pt x="68775" y="134230"/>
                    <a:pt x="68775" y="13423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xmlns="" id="{0F3B5A17-EE7E-4F2D-AD95-6350C002E636}"/>
                </a:ext>
              </a:extLst>
            </p:cNvPr>
            <p:cNvSpPr/>
            <p:nvPr/>
          </p:nvSpPr>
          <p:spPr>
            <a:xfrm>
              <a:off x="10543758" y="1690372"/>
              <a:ext cx="157200" cy="117900"/>
            </a:xfrm>
            <a:custGeom>
              <a:avLst/>
              <a:gdLst>
                <a:gd name="connsiteX0" fmla="*/ 148685 w 157200"/>
                <a:gd name="connsiteY0" fmla="*/ 36025 h 117900"/>
                <a:gd name="connsiteX1" fmla="*/ 9825 w 157200"/>
                <a:gd name="connsiteY1" fmla="*/ 9825 h 117900"/>
                <a:gd name="connsiteX2" fmla="*/ 9825 w 157200"/>
                <a:gd name="connsiteY2" fmla="*/ 92355 h 117900"/>
                <a:gd name="connsiteX3" fmla="*/ 9825 w 157200"/>
                <a:gd name="connsiteY3" fmla="*/ 93665 h 117900"/>
                <a:gd name="connsiteX4" fmla="*/ 132965 w 157200"/>
                <a:gd name="connsiteY4" fmla="*/ 118555 h 117900"/>
                <a:gd name="connsiteX5" fmla="*/ 147375 w 157200"/>
                <a:gd name="connsiteY5" fmla="*/ 108075 h 117900"/>
                <a:gd name="connsiteX6" fmla="*/ 157855 w 157200"/>
                <a:gd name="connsiteY6" fmla="*/ 51745 h 117900"/>
                <a:gd name="connsiteX7" fmla="*/ 148685 w 157200"/>
                <a:gd name="connsiteY7" fmla="*/ 36025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17900">
                  <a:moveTo>
                    <a:pt x="148685" y="36025"/>
                  </a:moveTo>
                  <a:lnTo>
                    <a:pt x="9825" y="9825"/>
                  </a:lnTo>
                  <a:lnTo>
                    <a:pt x="9825" y="92355"/>
                  </a:lnTo>
                  <a:cubicBezTo>
                    <a:pt x="9825" y="92355"/>
                    <a:pt x="9825" y="93665"/>
                    <a:pt x="9825" y="93665"/>
                  </a:cubicBezTo>
                  <a:lnTo>
                    <a:pt x="132965" y="118555"/>
                  </a:lnTo>
                  <a:cubicBezTo>
                    <a:pt x="139515" y="119865"/>
                    <a:pt x="146065" y="115935"/>
                    <a:pt x="147375" y="108075"/>
                  </a:cubicBezTo>
                  <a:lnTo>
                    <a:pt x="157855" y="51745"/>
                  </a:lnTo>
                  <a:cubicBezTo>
                    <a:pt x="160475" y="45195"/>
                    <a:pt x="155235" y="37335"/>
                    <a:pt x="148685" y="3602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xmlns="" id="{7EC8E0EF-DD06-4097-8E38-C3C92698347B}"/>
                </a:ext>
              </a:extLst>
            </p:cNvPr>
            <p:cNvSpPr/>
            <p:nvPr/>
          </p:nvSpPr>
          <p:spPr>
            <a:xfrm>
              <a:off x="10163610" y="1619384"/>
              <a:ext cx="157200" cy="117900"/>
            </a:xfrm>
            <a:custGeom>
              <a:avLst/>
              <a:gdLst>
                <a:gd name="connsiteX0" fmla="*/ 36273 w 157200"/>
                <a:gd name="connsiteY0" fmla="*/ 10073 h 117900"/>
                <a:gd name="connsiteX1" fmla="*/ 21863 w 157200"/>
                <a:gd name="connsiteY1" fmla="*/ 20553 h 117900"/>
                <a:gd name="connsiteX2" fmla="*/ 10073 w 157200"/>
                <a:gd name="connsiteY2" fmla="*/ 76883 h 117900"/>
                <a:gd name="connsiteX3" fmla="*/ 20553 w 157200"/>
                <a:gd name="connsiteY3" fmla="*/ 92603 h 117900"/>
                <a:gd name="connsiteX4" fmla="*/ 92603 w 157200"/>
                <a:gd name="connsiteY4" fmla="*/ 107013 h 117900"/>
                <a:gd name="connsiteX5" fmla="*/ 155483 w 157200"/>
                <a:gd name="connsiteY5" fmla="*/ 118803 h 117900"/>
                <a:gd name="connsiteX6" fmla="*/ 155483 w 157200"/>
                <a:gd name="connsiteY6" fmla="*/ 70333 h 117900"/>
                <a:gd name="connsiteX7" fmla="*/ 155483 w 157200"/>
                <a:gd name="connsiteY7" fmla="*/ 33653 h 117900"/>
                <a:gd name="connsiteX8" fmla="*/ 155483 w 157200"/>
                <a:gd name="connsiteY8" fmla="*/ 33653 h 117900"/>
                <a:gd name="connsiteX9" fmla="*/ 36273 w 157200"/>
                <a:gd name="connsiteY9" fmla="*/ 10073 h 11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200" h="117900">
                  <a:moveTo>
                    <a:pt x="36273" y="10073"/>
                  </a:moveTo>
                  <a:cubicBezTo>
                    <a:pt x="29723" y="8763"/>
                    <a:pt x="23173" y="12693"/>
                    <a:pt x="21863" y="20553"/>
                  </a:cubicBezTo>
                  <a:lnTo>
                    <a:pt x="10073" y="76883"/>
                  </a:lnTo>
                  <a:cubicBezTo>
                    <a:pt x="8763" y="83433"/>
                    <a:pt x="12693" y="91293"/>
                    <a:pt x="20553" y="92603"/>
                  </a:cubicBezTo>
                  <a:lnTo>
                    <a:pt x="92603" y="107013"/>
                  </a:lnTo>
                  <a:lnTo>
                    <a:pt x="155483" y="118803"/>
                  </a:lnTo>
                  <a:lnTo>
                    <a:pt x="155483" y="70333"/>
                  </a:lnTo>
                  <a:lnTo>
                    <a:pt x="155483" y="33653"/>
                  </a:lnTo>
                  <a:cubicBezTo>
                    <a:pt x="155483" y="33653"/>
                    <a:pt x="155483" y="33653"/>
                    <a:pt x="155483" y="33653"/>
                  </a:cubicBezTo>
                  <a:lnTo>
                    <a:pt x="36273" y="1007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xmlns="" id="{19F23071-28F8-4002-B927-88D5C0BBB544}"/>
                </a:ext>
              </a:extLst>
            </p:cNvPr>
            <p:cNvSpPr/>
            <p:nvPr/>
          </p:nvSpPr>
          <p:spPr>
            <a:xfrm>
              <a:off x="10429788" y="1775522"/>
              <a:ext cx="157200" cy="131000"/>
            </a:xfrm>
            <a:custGeom>
              <a:avLst/>
              <a:gdLst>
                <a:gd name="connsiteX0" fmla="*/ 9825 w 157200"/>
                <a:gd name="connsiteY0" fmla="*/ 11135 h 131000"/>
                <a:gd name="connsiteX1" fmla="*/ 58295 w 157200"/>
                <a:gd name="connsiteY1" fmla="*/ 115935 h 131000"/>
                <a:gd name="connsiteX2" fmla="*/ 75325 w 157200"/>
                <a:gd name="connsiteY2" fmla="*/ 122485 h 131000"/>
                <a:gd name="connsiteX3" fmla="*/ 142135 w 157200"/>
                <a:gd name="connsiteY3" fmla="*/ 89735 h 131000"/>
                <a:gd name="connsiteX4" fmla="*/ 148685 w 157200"/>
                <a:gd name="connsiteY4" fmla="*/ 71395 h 131000"/>
                <a:gd name="connsiteX5" fmla="*/ 119865 w 157200"/>
                <a:gd name="connsiteY5" fmla="*/ 9825 h 131000"/>
                <a:gd name="connsiteX6" fmla="*/ 118555 w 157200"/>
                <a:gd name="connsiteY6" fmla="*/ 9825 h 131000"/>
                <a:gd name="connsiteX7" fmla="*/ 9825 w 157200"/>
                <a:gd name="connsiteY7" fmla="*/ 9825 h 13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31000">
                  <a:moveTo>
                    <a:pt x="9825" y="11135"/>
                  </a:moveTo>
                  <a:lnTo>
                    <a:pt x="58295" y="115935"/>
                  </a:lnTo>
                  <a:cubicBezTo>
                    <a:pt x="60915" y="122485"/>
                    <a:pt x="68775" y="125105"/>
                    <a:pt x="75325" y="122485"/>
                  </a:cubicBezTo>
                  <a:lnTo>
                    <a:pt x="142135" y="89735"/>
                  </a:lnTo>
                  <a:cubicBezTo>
                    <a:pt x="148685" y="87115"/>
                    <a:pt x="151305" y="77945"/>
                    <a:pt x="148685" y="71395"/>
                  </a:cubicBezTo>
                  <a:lnTo>
                    <a:pt x="119865" y="9825"/>
                  </a:lnTo>
                  <a:cubicBezTo>
                    <a:pt x="119865" y="9825"/>
                    <a:pt x="118555" y="9825"/>
                    <a:pt x="118555" y="9825"/>
                  </a:cubicBezTo>
                  <a:lnTo>
                    <a:pt x="9825" y="9825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xmlns="" id="{D20F9094-4F94-434E-AD00-D649774BD16E}"/>
                </a:ext>
              </a:extLst>
            </p:cNvPr>
            <p:cNvSpPr/>
            <p:nvPr/>
          </p:nvSpPr>
          <p:spPr>
            <a:xfrm>
              <a:off x="10286462" y="1419508"/>
              <a:ext cx="157200" cy="196500"/>
            </a:xfrm>
            <a:custGeom>
              <a:avLst/>
              <a:gdLst>
                <a:gd name="connsiteX0" fmla="*/ 147912 w 157200"/>
                <a:gd name="connsiteY0" fmla="*/ 115629 h 196500"/>
                <a:gd name="connsiteX1" fmla="*/ 102061 w 157200"/>
                <a:gd name="connsiteY1" fmla="*/ 17379 h 196500"/>
                <a:gd name="connsiteX2" fmla="*/ 85032 w 157200"/>
                <a:gd name="connsiteY2" fmla="*/ 10829 h 196500"/>
                <a:gd name="connsiteX3" fmla="*/ 16911 w 157200"/>
                <a:gd name="connsiteY3" fmla="*/ 43579 h 196500"/>
                <a:gd name="connsiteX4" fmla="*/ 11672 w 157200"/>
                <a:gd name="connsiteY4" fmla="*/ 60609 h 196500"/>
                <a:gd name="connsiteX5" fmla="*/ 71932 w 157200"/>
                <a:gd name="connsiteY5" fmla="*/ 192919 h 196500"/>
                <a:gd name="connsiteX6" fmla="*/ 147912 w 157200"/>
                <a:gd name="connsiteY6" fmla="*/ 115629 h 196500"/>
                <a:gd name="connsiteX7" fmla="*/ 147912 w 157200"/>
                <a:gd name="connsiteY7" fmla="*/ 115629 h 1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200" h="196500">
                  <a:moveTo>
                    <a:pt x="147912" y="115629"/>
                  </a:moveTo>
                  <a:lnTo>
                    <a:pt x="102061" y="17379"/>
                  </a:lnTo>
                  <a:cubicBezTo>
                    <a:pt x="99442" y="10829"/>
                    <a:pt x="91582" y="8209"/>
                    <a:pt x="85032" y="10829"/>
                  </a:cubicBezTo>
                  <a:lnTo>
                    <a:pt x="16911" y="43579"/>
                  </a:lnTo>
                  <a:cubicBezTo>
                    <a:pt x="10361" y="46199"/>
                    <a:pt x="7741" y="54059"/>
                    <a:pt x="11672" y="60609"/>
                  </a:cubicBezTo>
                  <a:lnTo>
                    <a:pt x="71932" y="192919"/>
                  </a:lnTo>
                  <a:lnTo>
                    <a:pt x="147912" y="115629"/>
                  </a:lnTo>
                  <a:cubicBezTo>
                    <a:pt x="147912" y="116939"/>
                    <a:pt x="147912" y="115629"/>
                    <a:pt x="147912" y="11562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706829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96" r:id="rId3"/>
    <p:sldLayoutId id="2147483694" r:id="rId4"/>
    <p:sldLayoutId id="2147483650" r:id="rId5"/>
    <p:sldLayoutId id="2147483691" r:id="rId6"/>
    <p:sldLayoutId id="2147483685" r:id="rId7"/>
    <p:sldLayoutId id="2147483663" r:id="rId8"/>
    <p:sldLayoutId id="2147483654" r:id="rId9"/>
    <p:sldLayoutId id="2147483653" r:id="rId10"/>
    <p:sldLayoutId id="2147483683" r:id="rId11"/>
    <p:sldLayoutId id="2147483733" r:id="rId12"/>
    <p:sldLayoutId id="2147483679" r:id="rId13"/>
    <p:sldLayoutId id="2147483671" r:id="rId14"/>
    <p:sldLayoutId id="2147483776" r:id="rId15"/>
    <p:sldLayoutId id="2147483672" r:id="rId16"/>
    <p:sldLayoutId id="2147483657" r:id="rId17"/>
    <p:sldLayoutId id="2147483659" r:id="rId18"/>
    <p:sldLayoutId id="2147483674" r:id="rId19"/>
    <p:sldLayoutId id="2147483774" r:id="rId20"/>
    <p:sldLayoutId id="2147483675" r:id="rId21"/>
    <p:sldLayoutId id="2147483692" r:id="rId22"/>
    <p:sldLayoutId id="2147483676" r:id="rId23"/>
    <p:sldLayoutId id="2147483677" r:id="rId24"/>
    <p:sldLayoutId id="2147483678" r:id="rId25"/>
    <p:sldLayoutId id="2147483695" r:id="rId26"/>
    <p:sldLayoutId id="2147483656" r:id="rId27"/>
    <p:sldLayoutId id="2147483660" r:id="rId28"/>
    <p:sldLayoutId id="2147483689" r:id="rId29"/>
    <p:sldLayoutId id="2147483775" r:id="rId30"/>
    <p:sldLayoutId id="2147483670" r:id="rId31"/>
    <p:sldLayoutId id="2147483693" r:id="rId32"/>
    <p:sldLayoutId id="2147483664" r:id="rId33"/>
    <p:sldLayoutId id="2147483665" r:id="rId34"/>
    <p:sldLayoutId id="2147483662" r:id="rId35"/>
    <p:sldLayoutId id="2147483681" r:id="rId36"/>
    <p:sldLayoutId id="2147483673" r:id="rId37"/>
    <p:sldLayoutId id="2147483777" r:id="rId38"/>
    <p:sldLayoutId id="2147483686" r:id="rId39"/>
    <p:sldLayoutId id="2147483778" r:id="rId4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300"/>
        </a:spcAft>
        <a:buFont typeface="Arial" panose="020B0604020202020204" pitchFamily="34" charset="0"/>
        <a:buNone/>
        <a:defRPr sz="1500" b="1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SzPct val="100000"/>
        <a:buFontTx/>
        <a:buBlip>
          <a:blip r:embed="rId47"/>
        </a:buBlip>
        <a:defRPr sz="13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SzPct val="100000"/>
        <a:buFontTx/>
        <a:buBlip>
          <a:blip r:embed="rId48"/>
        </a:buBlip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SzPct val="100000"/>
        <a:buFont typeface="+mj-lt"/>
        <a:buNone/>
        <a:defRPr sz="13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+mj-lt"/>
        <a:buNone/>
        <a:defRPr sz="13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1117" userDrawn="1">
          <p15:clr>
            <a:srgbClr val="F26B43"/>
          </p15:clr>
        </p15:guide>
        <p15:guide id="5" orient="horz" pos="3748" userDrawn="1">
          <p15:clr>
            <a:srgbClr val="F26B43"/>
          </p15:clr>
        </p15:guide>
        <p15:guide id="7" pos="3772" userDrawn="1">
          <p15:clr>
            <a:srgbClr val="F26B43"/>
          </p15:clr>
        </p15:guide>
        <p15:guide id="8" pos="390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7.png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3.jpeg"/><Relationship Id="rId18" Type="http://schemas.openxmlformats.org/officeDocument/2006/relationships/image" Target="../media/image68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12" Type="http://schemas.openxmlformats.org/officeDocument/2006/relationships/image" Target="../media/image46.jpeg"/><Relationship Id="rId17" Type="http://schemas.openxmlformats.org/officeDocument/2006/relationships/image" Target="../media/image67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6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7.jpe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5" Type="http://schemas.openxmlformats.org/officeDocument/2006/relationships/image" Target="../media/image65.png"/><Relationship Id="rId10" Type="http://schemas.openxmlformats.org/officeDocument/2006/relationships/image" Target="../media/image61.jpeg"/><Relationship Id="rId4" Type="http://schemas.openxmlformats.org/officeDocument/2006/relationships/image" Target="../media/image55.jpeg"/><Relationship Id="rId9" Type="http://schemas.openxmlformats.org/officeDocument/2006/relationships/image" Target="../media/image60.jpeg"/><Relationship Id="rId1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3" Type="http://schemas.openxmlformats.org/officeDocument/2006/relationships/tags" Target="../tags/tag69.xml"/><Relationship Id="rId21" Type="http://schemas.openxmlformats.org/officeDocument/2006/relationships/image" Target="../media/image23.PNG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tags" Target="../tags/tag68.xml"/><Relationship Id="rId16" Type="http://schemas.openxmlformats.org/officeDocument/2006/relationships/image" Target="../media/image18.jpg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11" Type="http://schemas.openxmlformats.org/officeDocument/2006/relationships/image" Target="../media/image15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7.jpg"/><Relationship Id="rId10" Type="http://schemas.openxmlformats.org/officeDocument/2006/relationships/image" Target="../media/image13.png"/><Relationship Id="rId19" Type="http://schemas.openxmlformats.org/officeDocument/2006/relationships/image" Target="../media/image21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2.jp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g"/><Relationship Id="rId7" Type="http://schemas.openxmlformats.org/officeDocument/2006/relationships/image" Target="../media/image3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5" Type="http://schemas.openxmlformats.org/officeDocument/2006/relationships/image" Target="../media/image37.jpg"/><Relationship Id="rId10" Type="http://schemas.openxmlformats.org/officeDocument/2006/relationships/hyperlink" Target="https://pixabay.com/en/flag-austria-red-white-red-striped-1486377/" TargetMode="External"/><Relationship Id="rId4" Type="http://schemas.openxmlformats.org/officeDocument/2006/relationships/image" Target="../media/image36.jpg"/><Relationship Id="rId9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xmlns="" id="{54AF7105-EADA-4804-9B5C-6A7B82AF88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21435" r="21435"/>
          <a:stretch/>
        </p:blipFill>
        <p:spPr>
          <a:xfrm>
            <a:off x="0" y="0"/>
            <a:ext cx="5877508" cy="6858000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xmlns="" id="{D7734EE5-2EEE-4361-9418-F677E07459E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16A4D509-F2A5-46C3-BC91-33C0CCFC0F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casavi</a:t>
            </a:r>
            <a:r>
              <a:rPr lang="de-DE" dirty="0"/>
              <a:t> GmbH</a:t>
            </a:r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xmlns="" id="{F35A2D82-DBD7-49CA-AECC-B84843113C09}"/>
              </a:ext>
            </a:extLst>
          </p:cNvPr>
          <p:cNvSpPr txBox="1">
            <a:spLocks/>
          </p:cNvSpPr>
          <p:nvPr/>
        </p:nvSpPr>
        <p:spPr>
          <a:xfrm>
            <a:off x="6096000" y="3136504"/>
            <a:ext cx="4500389" cy="8010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SzPct val="100000"/>
              <a:buFontTx/>
              <a:buNone/>
              <a:defRPr sz="2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SzPct val="100000"/>
              <a:buFontTx/>
              <a:buNone/>
              <a:defRPr sz="2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+mj-lt"/>
              <a:buNone/>
              <a:defRPr sz="2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+mj-lt"/>
              <a:buNone/>
              <a:defRPr sz="2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accent1"/>
                </a:solidFill>
              </a:rPr>
              <a:t>Wie Vermieter, Mieter und Dienstleister heute bereits effizienter zusammenarbeiten können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59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3FEC528B-D010-47BD-82B3-D5B3064617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marte Paketbox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4611B4B1-92B5-497E-ABE3-9ADF0620C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duktvorstellung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3A61456C-68BF-4D3A-A0F4-82AAFB71AF2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16FF366C-7D58-4729-9603-0BC2A6D1064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0" y="2601119"/>
            <a:ext cx="5616575" cy="1655762"/>
          </a:xfrm>
        </p:spPr>
        <p:txBody>
          <a:bodyPr/>
          <a:lstStyle/>
          <a:p>
            <a:pPr lvl="2"/>
            <a:r>
              <a:rPr lang="de-DE" sz="1600" dirty="0"/>
              <a:t>Gemeinschaftlich und flexibel nutzbare Paketablage</a:t>
            </a:r>
          </a:p>
          <a:p>
            <a:pPr lvl="2"/>
            <a:r>
              <a:rPr lang="de-DE" sz="1600" dirty="0"/>
              <a:t>Benachrichtigung des Empfängers per Push-Nachricht</a:t>
            </a:r>
          </a:p>
          <a:p>
            <a:pPr lvl="2"/>
            <a:r>
              <a:rPr lang="de-DE" sz="1600" dirty="0"/>
              <a:t>Lieferdienst-unabhängig</a:t>
            </a:r>
          </a:p>
          <a:p>
            <a:pPr lvl="2"/>
            <a:r>
              <a:rPr lang="de-DE" sz="1600" dirty="0"/>
              <a:t>Koppelbar mit Service-App (Bewohner-Liste, Kontakt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9F650F2D-9749-4CBA-9DB0-3F90BB6C4C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CE82C51-5E1A-40F2-92BC-EAC149E19C6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8" name="Picture 2" descr="https://www.briefkasten.de/fileadmin/Dateiablage_DE/Mediendatenbank/Landingpages/Referenzen/myrenzbox-hohberg-3.jpg">
            <a:extLst>
              <a:ext uri="{FF2B5EF4-FFF2-40B4-BE49-F238E27FC236}">
                <a16:creationId xmlns:a16="http://schemas.microsoft.com/office/drawing/2014/main" xmlns="" id="{5CA1A98F-B0E2-4EE5-9667-07F7A7CB65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415"/>
          <a:stretch/>
        </p:blipFill>
        <p:spPr bwMode="auto">
          <a:xfrm>
            <a:off x="371474" y="1732974"/>
            <a:ext cx="4968442" cy="4206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575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xmlns="" id="{E6A3310B-3294-4197-B760-23692415D8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7B13D7B1-495A-49B2-854D-087108473CE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051838" y="6417332"/>
            <a:ext cx="1092002" cy="360000"/>
          </a:xfrm>
        </p:spPr>
        <p:txBody>
          <a:bodyPr/>
          <a:lstStyle/>
          <a:p>
            <a:fld id="{4D0C752E-B293-43B0-973D-6D64A1C1F52F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A08842D1-D534-4ACC-B5CF-02201CA844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219085" y="6417372"/>
            <a:ext cx="871818" cy="360000"/>
          </a:xfrm>
        </p:spPr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11</a:t>
            </a:fld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xmlns="" id="{EDAF9FFF-D72B-4D8F-9DFD-2B62C28DF0D8}"/>
              </a:ext>
            </a:extLst>
          </p:cNvPr>
          <p:cNvGrpSpPr/>
          <p:nvPr/>
        </p:nvGrpSpPr>
        <p:grpSpPr>
          <a:xfrm>
            <a:off x="559410" y="1483815"/>
            <a:ext cx="11585262" cy="4541045"/>
            <a:chOff x="347988" y="1173898"/>
            <a:chExt cx="11585262" cy="4541045"/>
          </a:xfrm>
        </p:grpSpPr>
        <p:cxnSp>
          <p:nvCxnSpPr>
            <p:cNvPr id="10" name="Straight Arrow Connector 11">
              <a:extLst>
                <a:ext uri="{FF2B5EF4-FFF2-40B4-BE49-F238E27FC236}">
                  <a16:creationId xmlns:a16="http://schemas.microsoft.com/office/drawing/2014/main" xmlns="" id="{13DF564A-46BF-4E1A-8125-D89C72E745CD}"/>
                </a:ext>
              </a:extLst>
            </p:cNvPr>
            <p:cNvCxnSpPr>
              <a:cxnSpLocks/>
            </p:cNvCxnSpPr>
            <p:nvPr/>
          </p:nvCxnSpPr>
          <p:spPr>
            <a:xfrm>
              <a:off x="5192559" y="2941698"/>
              <a:ext cx="1075581" cy="0"/>
            </a:xfrm>
            <a:prstGeom prst="straightConnector1">
              <a:avLst/>
            </a:prstGeom>
            <a:ln w="762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2">
              <a:extLst>
                <a:ext uri="{FF2B5EF4-FFF2-40B4-BE49-F238E27FC236}">
                  <a16:creationId xmlns:a16="http://schemas.microsoft.com/office/drawing/2014/main" xmlns="" id="{CFC3E376-00F5-4FA2-B3EE-FABD3C924F72}"/>
                </a:ext>
              </a:extLst>
            </p:cNvPr>
            <p:cNvSpPr txBox="1"/>
            <p:nvPr/>
          </p:nvSpPr>
          <p:spPr>
            <a:xfrm>
              <a:off x="5524538" y="2997806"/>
              <a:ext cx="468398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/>
                <a:t>API</a:t>
              </a:r>
            </a:p>
          </p:txBody>
        </p:sp>
        <p:sp>
          <p:nvSpPr>
            <p:cNvPr id="12" name="TextBox 13">
              <a:extLst>
                <a:ext uri="{FF2B5EF4-FFF2-40B4-BE49-F238E27FC236}">
                  <a16:creationId xmlns:a16="http://schemas.microsoft.com/office/drawing/2014/main" xmlns="" id="{C3076D75-5418-4960-A3A3-6AA7541E72E7}"/>
                </a:ext>
              </a:extLst>
            </p:cNvPr>
            <p:cNvSpPr txBox="1"/>
            <p:nvPr/>
          </p:nvSpPr>
          <p:spPr>
            <a:xfrm>
              <a:off x="3652330" y="3807937"/>
              <a:ext cx="676788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 err="1">
                  <a:solidFill>
                    <a:schemeClr val="accent2"/>
                  </a:solidFill>
                </a:rPr>
                <a:t>casavi</a:t>
              </a:r>
              <a:endParaRPr lang="de-DE" sz="1300" dirty="0">
                <a:solidFill>
                  <a:schemeClr val="accent2"/>
                </a:solidFill>
              </a:endParaRPr>
            </a:p>
          </p:txBody>
        </p:sp>
        <p:sp>
          <p:nvSpPr>
            <p:cNvPr id="13" name="TextBox 14">
              <a:extLst>
                <a:ext uri="{FF2B5EF4-FFF2-40B4-BE49-F238E27FC236}">
                  <a16:creationId xmlns:a16="http://schemas.microsoft.com/office/drawing/2014/main" xmlns="" id="{13653361-6AF2-420C-B1B5-28A120901214}"/>
                </a:ext>
              </a:extLst>
            </p:cNvPr>
            <p:cNvSpPr txBox="1"/>
            <p:nvPr/>
          </p:nvSpPr>
          <p:spPr>
            <a:xfrm>
              <a:off x="6732060" y="3802582"/>
              <a:ext cx="1263487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 err="1">
                  <a:solidFill>
                    <a:schemeClr val="accent2"/>
                  </a:solidFill>
                </a:rPr>
                <a:t>casavi</a:t>
              </a:r>
              <a:r>
                <a:rPr lang="de-DE" sz="1300" dirty="0">
                  <a:solidFill>
                    <a:schemeClr val="accent2"/>
                  </a:solidFill>
                </a:rPr>
                <a:t> RELAY</a:t>
              </a:r>
            </a:p>
          </p:txBody>
        </p:sp>
        <p:cxnSp>
          <p:nvCxnSpPr>
            <p:cNvPr id="21" name="Straight Arrow Connector 29">
              <a:extLst>
                <a:ext uri="{FF2B5EF4-FFF2-40B4-BE49-F238E27FC236}">
                  <a16:creationId xmlns:a16="http://schemas.microsoft.com/office/drawing/2014/main" xmlns="" id="{E3FB74FD-528F-45E5-A3C7-B94ECC902FF4}"/>
                </a:ext>
              </a:extLst>
            </p:cNvPr>
            <p:cNvCxnSpPr/>
            <p:nvPr/>
          </p:nvCxnSpPr>
          <p:spPr>
            <a:xfrm flipV="1">
              <a:off x="1951806" y="3454781"/>
              <a:ext cx="1015067" cy="38389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Arrow Connector 30">
              <a:extLst>
                <a:ext uri="{FF2B5EF4-FFF2-40B4-BE49-F238E27FC236}">
                  <a16:creationId xmlns:a16="http://schemas.microsoft.com/office/drawing/2014/main" xmlns="" id="{07AB4581-74BD-42E0-BB10-37E9F659987F}"/>
                </a:ext>
              </a:extLst>
            </p:cNvPr>
            <p:cNvCxnSpPr>
              <a:cxnSpLocks/>
            </p:cNvCxnSpPr>
            <p:nvPr/>
          </p:nvCxnSpPr>
          <p:spPr>
            <a:xfrm>
              <a:off x="1755082" y="2935964"/>
              <a:ext cx="1138562" cy="5733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Arrow Connector 32">
              <a:extLst>
                <a:ext uri="{FF2B5EF4-FFF2-40B4-BE49-F238E27FC236}">
                  <a16:creationId xmlns:a16="http://schemas.microsoft.com/office/drawing/2014/main" xmlns="" id="{E4AA09AF-E337-419F-9303-A96BCB74B822}"/>
                </a:ext>
              </a:extLst>
            </p:cNvPr>
            <p:cNvCxnSpPr>
              <a:cxnSpLocks/>
            </p:cNvCxnSpPr>
            <p:nvPr/>
          </p:nvCxnSpPr>
          <p:spPr>
            <a:xfrm>
              <a:off x="2053030" y="2132451"/>
              <a:ext cx="972566" cy="33770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34">
              <a:extLst>
                <a:ext uri="{FF2B5EF4-FFF2-40B4-BE49-F238E27FC236}">
                  <a16:creationId xmlns:a16="http://schemas.microsoft.com/office/drawing/2014/main" xmlns="" id="{14724B35-D550-4EAE-B6D2-056740D196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94379" y="1548485"/>
              <a:ext cx="722585" cy="463379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Arrow Connector 36">
              <a:extLst>
                <a:ext uri="{FF2B5EF4-FFF2-40B4-BE49-F238E27FC236}">
                  <a16:creationId xmlns:a16="http://schemas.microsoft.com/office/drawing/2014/main" xmlns="" id="{8C3CB46F-7D27-4814-A4EE-0821583B5F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94380" y="3646729"/>
              <a:ext cx="834459" cy="463428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Arrow Connector 38">
              <a:extLst>
                <a:ext uri="{FF2B5EF4-FFF2-40B4-BE49-F238E27FC236}">
                  <a16:creationId xmlns:a16="http://schemas.microsoft.com/office/drawing/2014/main" xmlns="" id="{FF14F180-63DF-4A85-83B7-C34719AF42B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58950" y="3062304"/>
              <a:ext cx="774370" cy="127576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Arrow Connector 40">
              <a:extLst>
                <a:ext uri="{FF2B5EF4-FFF2-40B4-BE49-F238E27FC236}">
                  <a16:creationId xmlns:a16="http://schemas.microsoft.com/office/drawing/2014/main" xmlns="" id="{7894AE7A-5678-4778-8ECA-D222045CC7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58950" y="2357663"/>
              <a:ext cx="774370" cy="193086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8" name="Content Placeholder 2">
              <a:extLst>
                <a:ext uri="{FF2B5EF4-FFF2-40B4-BE49-F238E27FC236}">
                  <a16:creationId xmlns:a16="http://schemas.microsoft.com/office/drawing/2014/main" xmlns="" id="{F15E1181-1F57-4186-B3D8-515DAEC9D974}"/>
                </a:ext>
              </a:extLst>
            </p:cNvPr>
            <p:cNvSpPr txBox="1">
              <a:spLocks/>
            </p:cNvSpPr>
            <p:nvPr/>
          </p:nvSpPr>
          <p:spPr>
            <a:xfrm>
              <a:off x="2253715" y="4538271"/>
              <a:ext cx="7393685" cy="1176672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5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SzPct val="100000"/>
                <a:buFontTx/>
                <a:buBlip>
                  <a:blip r:embed="rId3"/>
                </a:buBlip>
                <a:defRPr sz="13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bg2"/>
                </a:buClr>
                <a:buSzPct val="100000"/>
                <a:buFontTx/>
                <a:buBlip>
                  <a:blip r:embed="rId4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buFont typeface="+mj-lt"/>
                <a:buNone/>
                <a:defRPr sz="13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+mj-lt"/>
                <a:buNone/>
                <a:defRPr sz="13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Clr>
                  <a:schemeClr val="bg2"/>
                </a:buClr>
                <a:buSzPct val="111000"/>
                <a:buFont typeface="Montserrat" panose="020B0604020202020204" charset="0"/>
                <a:buChar char="+"/>
              </a:pPr>
              <a:r>
                <a:rPr lang="de-DE" sz="1300" b="0" dirty="0">
                  <a:solidFill>
                    <a:schemeClr val="accent2"/>
                  </a:solidFill>
                </a:rPr>
                <a:t>Plattform zur Integration von Dienstleistern und externen Zielgruppen</a:t>
              </a:r>
            </a:p>
            <a:p>
              <a:pPr marL="285750" indent="-285750">
                <a:spcBef>
                  <a:spcPts val="600"/>
                </a:spcBef>
                <a:buClr>
                  <a:schemeClr val="bg2"/>
                </a:buClr>
                <a:buSzPct val="111000"/>
                <a:buFont typeface="Montserrat" panose="020B0604020202020204" charset="0"/>
                <a:buChar char="+"/>
              </a:pPr>
              <a:r>
                <a:rPr lang="de-DE" sz="1300" b="0" dirty="0">
                  <a:solidFill>
                    <a:schemeClr val="accent2"/>
                  </a:solidFill>
                </a:rPr>
                <a:t>Bereitstellung individueller Aufträge, Ansichten und Zugriffe</a:t>
              </a:r>
            </a:p>
            <a:p>
              <a:pPr marL="285750" indent="-285750">
                <a:spcBef>
                  <a:spcPts val="600"/>
                </a:spcBef>
                <a:buClr>
                  <a:schemeClr val="bg2"/>
                </a:buClr>
                <a:buSzPct val="111000"/>
                <a:buFont typeface="Montserrat" panose="020B0604020202020204" charset="0"/>
                <a:buChar char="+"/>
              </a:pPr>
              <a:r>
                <a:rPr lang="de-DE" sz="1300" b="0" dirty="0">
                  <a:solidFill>
                    <a:schemeClr val="accent2"/>
                  </a:solidFill>
                </a:rPr>
                <a:t>Angebunden über API an </a:t>
              </a:r>
              <a:r>
                <a:rPr lang="de-DE" sz="1300" b="0" dirty="0" err="1">
                  <a:solidFill>
                    <a:schemeClr val="accent2"/>
                  </a:solidFill>
                </a:rPr>
                <a:t>casavi</a:t>
              </a:r>
              <a:r>
                <a:rPr lang="de-DE" sz="1300" b="0" dirty="0">
                  <a:solidFill>
                    <a:schemeClr val="accent2"/>
                  </a:solidFill>
                </a:rPr>
                <a:t> Vorgangsmanagement und Kundenportal</a:t>
              </a:r>
            </a:p>
          </p:txBody>
        </p:sp>
        <p:sp>
          <p:nvSpPr>
            <p:cNvPr id="29" name="TextBox 44">
              <a:extLst>
                <a:ext uri="{FF2B5EF4-FFF2-40B4-BE49-F238E27FC236}">
                  <a16:creationId xmlns:a16="http://schemas.microsoft.com/office/drawing/2014/main" xmlns="" id="{62926CF7-5770-4EA8-A642-A0B6FA2322C4}"/>
                </a:ext>
              </a:extLst>
            </p:cNvPr>
            <p:cNvSpPr txBox="1"/>
            <p:nvPr/>
          </p:nvSpPr>
          <p:spPr>
            <a:xfrm>
              <a:off x="10007723" y="1173898"/>
              <a:ext cx="1925527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/>
                <a:t>Versicherungsmakler</a:t>
              </a:r>
            </a:p>
          </p:txBody>
        </p:sp>
        <p:sp>
          <p:nvSpPr>
            <p:cNvPr id="30" name="TextBox 45">
              <a:extLst>
                <a:ext uri="{FF2B5EF4-FFF2-40B4-BE49-F238E27FC236}">
                  <a16:creationId xmlns:a16="http://schemas.microsoft.com/office/drawing/2014/main" xmlns="" id="{E871093E-0A58-455C-81CC-B85DB6BE204A}"/>
                </a:ext>
              </a:extLst>
            </p:cNvPr>
            <p:cNvSpPr txBox="1"/>
            <p:nvPr/>
          </p:nvSpPr>
          <p:spPr>
            <a:xfrm>
              <a:off x="10331722" y="1940803"/>
              <a:ext cx="1204176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/>
                <a:t>Handwerker</a:t>
              </a:r>
            </a:p>
          </p:txBody>
        </p:sp>
        <p:sp>
          <p:nvSpPr>
            <p:cNvPr id="31" name="TextBox 47">
              <a:extLst>
                <a:ext uri="{FF2B5EF4-FFF2-40B4-BE49-F238E27FC236}">
                  <a16:creationId xmlns:a16="http://schemas.microsoft.com/office/drawing/2014/main" xmlns="" id="{97D13E5E-8050-4A39-A922-CC3995D2F619}"/>
                </a:ext>
              </a:extLst>
            </p:cNvPr>
            <p:cNvSpPr txBox="1"/>
            <p:nvPr/>
          </p:nvSpPr>
          <p:spPr>
            <a:xfrm>
              <a:off x="10331722" y="2648279"/>
              <a:ext cx="1527982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/>
                <a:t>Facility Manager</a:t>
              </a:r>
            </a:p>
          </p:txBody>
        </p:sp>
        <p:sp>
          <p:nvSpPr>
            <p:cNvPr id="32" name="TextBox 48">
              <a:extLst>
                <a:ext uri="{FF2B5EF4-FFF2-40B4-BE49-F238E27FC236}">
                  <a16:creationId xmlns:a16="http://schemas.microsoft.com/office/drawing/2014/main" xmlns="" id="{82673A3E-644E-4419-89AA-D43BDE89F074}"/>
                </a:ext>
              </a:extLst>
            </p:cNvPr>
            <p:cNvSpPr txBox="1"/>
            <p:nvPr/>
          </p:nvSpPr>
          <p:spPr>
            <a:xfrm>
              <a:off x="10183444" y="3409764"/>
              <a:ext cx="1250663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/>
                <a:t>Ablesedienst</a:t>
              </a:r>
            </a:p>
          </p:txBody>
        </p:sp>
        <p:sp>
          <p:nvSpPr>
            <p:cNvPr id="33" name="TextBox 49">
              <a:extLst>
                <a:ext uri="{FF2B5EF4-FFF2-40B4-BE49-F238E27FC236}">
                  <a16:creationId xmlns:a16="http://schemas.microsoft.com/office/drawing/2014/main" xmlns="" id="{2757D89D-BAB3-4B15-A336-8B57227ACC6C}"/>
                </a:ext>
              </a:extLst>
            </p:cNvPr>
            <p:cNvSpPr txBox="1"/>
            <p:nvPr/>
          </p:nvSpPr>
          <p:spPr>
            <a:xfrm>
              <a:off x="10055819" y="4139041"/>
              <a:ext cx="1819729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/>
                <a:t>Energiedienstleister</a:t>
              </a:r>
            </a:p>
          </p:txBody>
        </p:sp>
        <p:sp>
          <p:nvSpPr>
            <p:cNvPr id="34" name="TextBox 53">
              <a:extLst>
                <a:ext uri="{FF2B5EF4-FFF2-40B4-BE49-F238E27FC236}">
                  <a16:creationId xmlns:a16="http://schemas.microsoft.com/office/drawing/2014/main" xmlns="" id="{E49871D7-3CD8-4E3C-BB86-9BD1A825A34D}"/>
                </a:ext>
              </a:extLst>
            </p:cNvPr>
            <p:cNvSpPr txBox="1"/>
            <p:nvPr/>
          </p:nvSpPr>
          <p:spPr>
            <a:xfrm>
              <a:off x="347988" y="3684826"/>
              <a:ext cx="71205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/>
                <a:t>Mieter</a:t>
              </a:r>
            </a:p>
          </p:txBody>
        </p:sp>
      </p:grpSp>
      <p:sp>
        <p:nvSpPr>
          <p:cNvPr id="62" name="Textplatzhalter 5">
            <a:extLst>
              <a:ext uri="{FF2B5EF4-FFF2-40B4-BE49-F238E27FC236}">
                <a16:creationId xmlns:a16="http://schemas.microsoft.com/office/drawing/2014/main" xmlns="" id="{45FE708F-438F-4201-B4A0-C7A1A12412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1475" y="728749"/>
            <a:ext cx="9576000" cy="792000"/>
          </a:xfrm>
        </p:spPr>
        <p:txBody>
          <a:bodyPr/>
          <a:lstStyle/>
          <a:p>
            <a:r>
              <a:rPr lang="de-DE" dirty="0" err="1"/>
              <a:t>casavi</a:t>
            </a:r>
            <a:r>
              <a:rPr lang="de-DE" dirty="0"/>
              <a:t> Relay</a:t>
            </a:r>
          </a:p>
          <a:p>
            <a:endParaRPr lang="de-DE" dirty="0"/>
          </a:p>
        </p:txBody>
      </p:sp>
      <p:sp>
        <p:nvSpPr>
          <p:cNvPr id="64" name="TextBox 51">
            <a:extLst>
              <a:ext uri="{FF2B5EF4-FFF2-40B4-BE49-F238E27FC236}">
                <a16:creationId xmlns:a16="http://schemas.microsoft.com/office/drawing/2014/main" xmlns="" id="{FEAFBF8F-7B7F-451D-92F0-99220B279B46}"/>
              </a:ext>
            </a:extLst>
          </p:cNvPr>
          <p:cNvSpPr txBox="1"/>
          <p:nvPr/>
        </p:nvSpPr>
        <p:spPr>
          <a:xfrm>
            <a:off x="405089" y="1761314"/>
            <a:ext cx="976549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00" dirty="0"/>
              <a:t>Verwalter</a:t>
            </a:r>
          </a:p>
        </p:txBody>
      </p:sp>
      <p:sp>
        <p:nvSpPr>
          <p:cNvPr id="65" name="TextBox 52">
            <a:extLst>
              <a:ext uri="{FF2B5EF4-FFF2-40B4-BE49-F238E27FC236}">
                <a16:creationId xmlns:a16="http://schemas.microsoft.com/office/drawing/2014/main" xmlns="" id="{5673E5D1-558C-4974-9B7C-24DBE4AFC089}"/>
              </a:ext>
            </a:extLst>
          </p:cNvPr>
          <p:cNvSpPr txBox="1"/>
          <p:nvPr/>
        </p:nvSpPr>
        <p:spPr>
          <a:xfrm>
            <a:off x="108966" y="2938104"/>
            <a:ext cx="1162498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00" dirty="0"/>
              <a:t>Eigentümer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xmlns="" id="{96DBCB5E-FEA8-443F-87DE-009E33390192}"/>
              </a:ext>
            </a:extLst>
          </p:cNvPr>
          <p:cNvSpPr/>
          <p:nvPr/>
        </p:nvSpPr>
        <p:spPr>
          <a:xfrm>
            <a:off x="3447091" y="2681337"/>
            <a:ext cx="1716684" cy="1182626"/>
          </a:xfrm>
          <a:custGeom>
            <a:avLst/>
            <a:gdLst>
              <a:gd name="connsiteX0" fmla="*/ 0 w 1917492"/>
              <a:gd name="connsiteY0" fmla="*/ 207732 h 1246369"/>
              <a:gd name="connsiteX1" fmla="*/ 207732 w 1917492"/>
              <a:gd name="connsiteY1" fmla="*/ 0 h 1246369"/>
              <a:gd name="connsiteX2" fmla="*/ 1709760 w 1917492"/>
              <a:gd name="connsiteY2" fmla="*/ 0 h 1246369"/>
              <a:gd name="connsiteX3" fmla="*/ 1917492 w 1917492"/>
              <a:gd name="connsiteY3" fmla="*/ 207732 h 1246369"/>
              <a:gd name="connsiteX4" fmla="*/ 1917492 w 1917492"/>
              <a:gd name="connsiteY4" fmla="*/ 1038637 h 1246369"/>
              <a:gd name="connsiteX5" fmla="*/ 1709760 w 1917492"/>
              <a:gd name="connsiteY5" fmla="*/ 1246369 h 1246369"/>
              <a:gd name="connsiteX6" fmla="*/ 207732 w 1917492"/>
              <a:gd name="connsiteY6" fmla="*/ 1246369 h 1246369"/>
              <a:gd name="connsiteX7" fmla="*/ 0 w 1917492"/>
              <a:gd name="connsiteY7" fmla="*/ 1038637 h 1246369"/>
              <a:gd name="connsiteX8" fmla="*/ 0 w 1917492"/>
              <a:gd name="connsiteY8" fmla="*/ 207732 h 1246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7492" h="1246369">
                <a:moveTo>
                  <a:pt x="0" y="207732"/>
                </a:moveTo>
                <a:cubicBezTo>
                  <a:pt x="0" y="93005"/>
                  <a:pt x="93005" y="0"/>
                  <a:pt x="207732" y="0"/>
                </a:cubicBezTo>
                <a:lnTo>
                  <a:pt x="1709760" y="0"/>
                </a:lnTo>
                <a:cubicBezTo>
                  <a:pt x="1824487" y="0"/>
                  <a:pt x="1917492" y="93005"/>
                  <a:pt x="1917492" y="207732"/>
                </a:cubicBezTo>
                <a:lnTo>
                  <a:pt x="1917492" y="1038637"/>
                </a:lnTo>
                <a:cubicBezTo>
                  <a:pt x="1917492" y="1153364"/>
                  <a:pt x="1824487" y="1246369"/>
                  <a:pt x="1709760" y="1246369"/>
                </a:cubicBezTo>
                <a:lnTo>
                  <a:pt x="207732" y="1246369"/>
                </a:lnTo>
                <a:cubicBezTo>
                  <a:pt x="93005" y="1246369"/>
                  <a:pt x="0" y="1153364"/>
                  <a:pt x="0" y="1038637"/>
                </a:cubicBezTo>
                <a:lnTo>
                  <a:pt x="0" y="207732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863" tIns="220863" rIns="220863" bIns="220863" numCol="1" spcCol="1270" anchor="ctr" anchorCtr="0">
            <a:noAutofit/>
          </a:bodyPr>
          <a:lstStyle/>
          <a:p>
            <a:pPr marL="0" lvl="0" indent="0" algn="ctr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4200" kern="1200"/>
          </a:p>
        </p:txBody>
      </p: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xmlns="" id="{CEF066C0-B17A-40E9-B1E7-547167471AE3}"/>
              </a:ext>
            </a:extLst>
          </p:cNvPr>
          <p:cNvSpPr/>
          <p:nvPr/>
        </p:nvSpPr>
        <p:spPr>
          <a:xfrm>
            <a:off x="6883486" y="2678422"/>
            <a:ext cx="1428654" cy="1182626"/>
          </a:xfrm>
          <a:custGeom>
            <a:avLst/>
            <a:gdLst>
              <a:gd name="connsiteX0" fmla="*/ 0 w 1917492"/>
              <a:gd name="connsiteY0" fmla="*/ 207732 h 1246369"/>
              <a:gd name="connsiteX1" fmla="*/ 207732 w 1917492"/>
              <a:gd name="connsiteY1" fmla="*/ 0 h 1246369"/>
              <a:gd name="connsiteX2" fmla="*/ 1709760 w 1917492"/>
              <a:gd name="connsiteY2" fmla="*/ 0 h 1246369"/>
              <a:gd name="connsiteX3" fmla="*/ 1917492 w 1917492"/>
              <a:gd name="connsiteY3" fmla="*/ 207732 h 1246369"/>
              <a:gd name="connsiteX4" fmla="*/ 1917492 w 1917492"/>
              <a:gd name="connsiteY4" fmla="*/ 1038637 h 1246369"/>
              <a:gd name="connsiteX5" fmla="*/ 1709760 w 1917492"/>
              <a:gd name="connsiteY5" fmla="*/ 1246369 h 1246369"/>
              <a:gd name="connsiteX6" fmla="*/ 207732 w 1917492"/>
              <a:gd name="connsiteY6" fmla="*/ 1246369 h 1246369"/>
              <a:gd name="connsiteX7" fmla="*/ 0 w 1917492"/>
              <a:gd name="connsiteY7" fmla="*/ 1038637 h 1246369"/>
              <a:gd name="connsiteX8" fmla="*/ 0 w 1917492"/>
              <a:gd name="connsiteY8" fmla="*/ 207732 h 1246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7492" h="1246369">
                <a:moveTo>
                  <a:pt x="0" y="207732"/>
                </a:moveTo>
                <a:cubicBezTo>
                  <a:pt x="0" y="93005"/>
                  <a:pt x="93005" y="0"/>
                  <a:pt x="207732" y="0"/>
                </a:cubicBezTo>
                <a:lnTo>
                  <a:pt x="1709760" y="0"/>
                </a:lnTo>
                <a:cubicBezTo>
                  <a:pt x="1824487" y="0"/>
                  <a:pt x="1917492" y="93005"/>
                  <a:pt x="1917492" y="207732"/>
                </a:cubicBezTo>
                <a:lnTo>
                  <a:pt x="1917492" y="1038637"/>
                </a:lnTo>
                <a:cubicBezTo>
                  <a:pt x="1917492" y="1153364"/>
                  <a:pt x="1824487" y="1246369"/>
                  <a:pt x="1709760" y="1246369"/>
                </a:cubicBezTo>
                <a:lnTo>
                  <a:pt x="207732" y="1246369"/>
                </a:lnTo>
                <a:cubicBezTo>
                  <a:pt x="93005" y="1246369"/>
                  <a:pt x="0" y="1153364"/>
                  <a:pt x="0" y="1038637"/>
                </a:cubicBezTo>
                <a:lnTo>
                  <a:pt x="0" y="207732"/>
                </a:lnTo>
                <a:close/>
              </a:path>
            </a:pathLst>
          </a:custGeom>
          <a:blipFill dpi="0" rotWithShape="1">
            <a:blip r:embed="rId6"/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863" tIns="220863" rIns="220863" bIns="220863" numCol="1" spcCol="1270" anchor="ctr" anchorCtr="0">
            <a:noAutofit/>
          </a:bodyPr>
          <a:lstStyle/>
          <a:p>
            <a:pPr marL="0" lvl="0" indent="0" algn="ctr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4200" kern="1200" dirty="0"/>
          </a:p>
        </p:txBody>
      </p:sp>
      <p:pic>
        <p:nvPicPr>
          <p:cNvPr id="40" name="Grafik 39" descr="Ein Bild, das Schild enthält.&#10;&#10;Automatisch generierte Beschreibung">
            <a:extLst>
              <a:ext uri="{FF2B5EF4-FFF2-40B4-BE49-F238E27FC236}">
                <a16:creationId xmlns:a16="http://schemas.microsoft.com/office/drawing/2014/main" xmlns="" id="{EE1D6F7B-927E-4F8A-A596-BE39174588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2846" y="2636912"/>
            <a:ext cx="884399" cy="884399"/>
          </a:xfrm>
          <a:prstGeom prst="rect">
            <a:avLst/>
          </a:prstGeom>
        </p:spPr>
      </p:pic>
      <p:pic>
        <p:nvPicPr>
          <p:cNvPr id="41" name="Grafik 40" descr="Ein Bild, das Schild enthält.&#10;&#10;Automatisch generierte Beschreibung">
            <a:extLst>
              <a:ext uri="{FF2B5EF4-FFF2-40B4-BE49-F238E27FC236}">
                <a16:creationId xmlns:a16="http://schemas.microsoft.com/office/drawing/2014/main" xmlns="" id="{A40FF7AA-A77F-45E2-BD8C-CF73504B54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8479" y="1608497"/>
            <a:ext cx="884399" cy="884399"/>
          </a:xfrm>
          <a:prstGeom prst="rect">
            <a:avLst/>
          </a:prstGeom>
        </p:spPr>
      </p:pic>
      <p:pic>
        <p:nvPicPr>
          <p:cNvPr id="42" name="Grafik 41" descr="Ein Bild, das Schild enthält.&#10;&#10;Automatisch generierte Beschreibung">
            <a:extLst>
              <a:ext uri="{FF2B5EF4-FFF2-40B4-BE49-F238E27FC236}">
                <a16:creationId xmlns:a16="http://schemas.microsoft.com/office/drawing/2014/main" xmlns="" id="{B49C21D2-A829-4C66-92CA-63C7D328FC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8478" y="3717420"/>
            <a:ext cx="884399" cy="884399"/>
          </a:xfrm>
          <a:prstGeom prst="rect">
            <a:avLst/>
          </a:prstGeom>
        </p:spPr>
      </p:pic>
      <p:grpSp>
        <p:nvGrpSpPr>
          <p:cNvPr id="43" name="Gruppieren 42">
            <a:extLst>
              <a:ext uri="{FF2B5EF4-FFF2-40B4-BE49-F238E27FC236}">
                <a16:creationId xmlns:a16="http://schemas.microsoft.com/office/drawing/2014/main" xmlns="" id="{45B8623C-F44A-4652-AB9B-E5BB303BC8CB}"/>
              </a:ext>
            </a:extLst>
          </p:cNvPr>
          <p:cNvGrpSpPr>
            <a:grpSpLocks noChangeAspect="1"/>
          </p:cNvGrpSpPr>
          <p:nvPr/>
        </p:nvGrpSpPr>
        <p:grpSpPr>
          <a:xfrm>
            <a:off x="9519038" y="1363484"/>
            <a:ext cx="532799" cy="590842"/>
            <a:chOff x="3048000" y="3943351"/>
            <a:chExt cx="808038" cy="893762"/>
          </a:xfrm>
        </p:grpSpPr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xmlns="" id="{0B26FBC9-AEAB-4B4D-A87E-C4DBDDDC7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013" y="4227513"/>
              <a:ext cx="342900" cy="260350"/>
            </a:xfrm>
            <a:custGeom>
              <a:avLst/>
              <a:gdLst>
                <a:gd name="T0" fmla="*/ 53 w 104"/>
                <a:gd name="T1" fmla="*/ 78 h 79"/>
                <a:gd name="T2" fmla="*/ 0 w 104"/>
                <a:gd name="T3" fmla="*/ 4 h 79"/>
                <a:gd name="T4" fmla="*/ 3 w 104"/>
                <a:gd name="T5" fmla="*/ 1 h 79"/>
                <a:gd name="T6" fmla="*/ 3 w 104"/>
                <a:gd name="T7" fmla="*/ 1 h 79"/>
                <a:gd name="T8" fmla="*/ 7 w 104"/>
                <a:gd name="T9" fmla="*/ 4 h 79"/>
                <a:gd name="T10" fmla="*/ 52 w 104"/>
                <a:gd name="T11" fmla="*/ 71 h 79"/>
                <a:gd name="T12" fmla="*/ 97 w 104"/>
                <a:gd name="T13" fmla="*/ 4 h 79"/>
                <a:gd name="T14" fmla="*/ 101 w 104"/>
                <a:gd name="T15" fmla="*/ 0 h 79"/>
                <a:gd name="T16" fmla="*/ 101 w 104"/>
                <a:gd name="T17" fmla="*/ 0 h 79"/>
                <a:gd name="T18" fmla="*/ 104 w 104"/>
                <a:gd name="T19" fmla="*/ 4 h 79"/>
                <a:gd name="T20" fmla="*/ 53 w 104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79">
                  <a:moveTo>
                    <a:pt x="53" y="78"/>
                  </a:moveTo>
                  <a:cubicBezTo>
                    <a:pt x="24" y="79"/>
                    <a:pt x="0" y="45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1"/>
                    <a:pt x="7" y="2"/>
                    <a:pt x="7" y="4"/>
                  </a:cubicBezTo>
                  <a:cubicBezTo>
                    <a:pt x="7" y="41"/>
                    <a:pt x="28" y="72"/>
                    <a:pt x="52" y="71"/>
                  </a:cubicBezTo>
                  <a:cubicBezTo>
                    <a:pt x="77" y="71"/>
                    <a:pt x="97" y="41"/>
                    <a:pt x="97" y="4"/>
                  </a:cubicBezTo>
                  <a:cubicBezTo>
                    <a:pt x="97" y="2"/>
                    <a:pt x="99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45"/>
                    <a:pt x="81" y="78"/>
                    <a:pt x="53" y="78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xmlns="" id="{EC31936B-CE60-4AFD-8B44-D090D0D80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0" y="4516438"/>
              <a:ext cx="168275" cy="320675"/>
            </a:xfrm>
            <a:custGeom>
              <a:avLst/>
              <a:gdLst>
                <a:gd name="T0" fmla="*/ 51 w 51"/>
                <a:gd name="T1" fmla="*/ 96 h 97"/>
                <a:gd name="T2" fmla="*/ 0 w 51"/>
                <a:gd name="T3" fmla="*/ 97 h 97"/>
                <a:gd name="T4" fmla="*/ 8 w 51"/>
                <a:gd name="T5" fmla="*/ 29 h 97"/>
                <a:gd name="T6" fmla="*/ 15 w 51"/>
                <a:gd name="T7" fmla="*/ 15 h 97"/>
                <a:gd name="T8" fmla="*/ 24 w 51"/>
                <a:gd name="T9" fmla="*/ 10 h 97"/>
                <a:gd name="T10" fmla="*/ 28 w 51"/>
                <a:gd name="T11" fmla="*/ 9 h 97"/>
                <a:gd name="T12" fmla="*/ 28 w 51"/>
                <a:gd name="T13" fmla="*/ 9 h 97"/>
                <a:gd name="T14" fmla="*/ 47 w 51"/>
                <a:gd name="T15" fmla="*/ 0 h 97"/>
                <a:gd name="T16" fmla="*/ 51 w 51"/>
                <a:gd name="T17" fmla="*/ 96 h 97"/>
                <a:gd name="T18" fmla="*/ 8 w 51"/>
                <a:gd name="T19" fmla="*/ 90 h 97"/>
                <a:gd name="T20" fmla="*/ 44 w 51"/>
                <a:gd name="T21" fmla="*/ 89 h 97"/>
                <a:gd name="T22" fmla="*/ 40 w 51"/>
                <a:gd name="T23" fmla="*/ 11 h 97"/>
                <a:gd name="T24" fmla="*/ 31 w 51"/>
                <a:gd name="T25" fmla="*/ 15 h 97"/>
                <a:gd name="T26" fmla="*/ 26 w 51"/>
                <a:gd name="T27" fmla="*/ 17 h 97"/>
                <a:gd name="T28" fmla="*/ 20 w 51"/>
                <a:gd name="T29" fmla="*/ 20 h 97"/>
                <a:gd name="T30" fmla="*/ 15 w 51"/>
                <a:gd name="T31" fmla="*/ 30 h 97"/>
                <a:gd name="T32" fmla="*/ 8 w 51"/>
                <a:gd name="T33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97">
                  <a:moveTo>
                    <a:pt x="51" y="96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4"/>
                    <a:pt x="11" y="19"/>
                    <a:pt x="15" y="15"/>
                  </a:cubicBezTo>
                  <a:cubicBezTo>
                    <a:pt x="17" y="12"/>
                    <a:pt x="21" y="11"/>
                    <a:pt x="24" y="10"/>
                  </a:cubicBezTo>
                  <a:cubicBezTo>
                    <a:pt x="25" y="10"/>
                    <a:pt x="27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51" y="96"/>
                  </a:lnTo>
                  <a:close/>
                  <a:moveTo>
                    <a:pt x="8" y="90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7" y="16"/>
                    <a:pt x="26" y="17"/>
                  </a:cubicBezTo>
                  <a:cubicBezTo>
                    <a:pt x="23" y="18"/>
                    <a:pt x="21" y="18"/>
                    <a:pt x="20" y="20"/>
                  </a:cubicBezTo>
                  <a:cubicBezTo>
                    <a:pt x="17" y="22"/>
                    <a:pt x="16" y="26"/>
                    <a:pt x="15" y="30"/>
                  </a:cubicBezTo>
                  <a:lnTo>
                    <a:pt x="8" y="90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xmlns="" id="{2232E36D-CBBE-4AE2-84E7-547ACA2123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4588" y="4513263"/>
              <a:ext cx="171450" cy="317500"/>
            </a:xfrm>
            <a:custGeom>
              <a:avLst/>
              <a:gdLst>
                <a:gd name="T0" fmla="*/ 52 w 52"/>
                <a:gd name="T1" fmla="*/ 96 h 96"/>
                <a:gd name="T2" fmla="*/ 0 w 52"/>
                <a:gd name="T3" fmla="*/ 96 h 96"/>
                <a:gd name="T4" fmla="*/ 2 w 52"/>
                <a:gd name="T5" fmla="*/ 0 h 96"/>
                <a:gd name="T6" fmla="*/ 22 w 52"/>
                <a:gd name="T7" fmla="*/ 8 h 96"/>
                <a:gd name="T8" fmla="*/ 42 w 52"/>
                <a:gd name="T9" fmla="*/ 29 h 96"/>
                <a:gd name="T10" fmla="*/ 52 w 52"/>
                <a:gd name="T11" fmla="*/ 96 h 96"/>
                <a:gd name="T12" fmla="*/ 7 w 52"/>
                <a:gd name="T13" fmla="*/ 89 h 96"/>
                <a:gd name="T14" fmla="*/ 44 w 52"/>
                <a:gd name="T15" fmla="*/ 89 h 96"/>
                <a:gd name="T16" fmla="*/ 35 w 52"/>
                <a:gd name="T17" fmla="*/ 30 h 96"/>
                <a:gd name="T18" fmla="*/ 20 w 52"/>
                <a:gd name="T19" fmla="*/ 15 h 96"/>
                <a:gd name="T20" fmla="*/ 9 w 52"/>
                <a:gd name="T21" fmla="*/ 11 h 96"/>
                <a:gd name="T22" fmla="*/ 7 w 52"/>
                <a:gd name="T2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96">
                  <a:moveTo>
                    <a:pt x="52" y="96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32" y="12"/>
                    <a:pt x="41" y="17"/>
                    <a:pt x="42" y="29"/>
                  </a:cubicBezTo>
                  <a:lnTo>
                    <a:pt x="52" y="96"/>
                  </a:lnTo>
                  <a:close/>
                  <a:moveTo>
                    <a:pt x="7" y="89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4" y="22"/>
                    <a:pt x="29" y="18"/>
                    <a:pt x="20" y="15"/>
                  </a:cubicBezTo>
                  <a:cubicBezTo>
                    <a:pt x="9" y="11"/>
                    <a:pt x="9" y="11"/>
                    <a:pt x="9" y="11"/>
                  </a:cubicBezTo>
                  <a:lnTo>
                    <a:pt x="7" y="89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xmlns="" id="{2A0D8984-BC0E-4E9C-B624-C6122D63B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463" y="4464051"/>
              <a:ext cx="511175" cy="250825"/>
            </a:xfrm>
            <a:custGeom>
              <a:avLst/>
              <a:gdLst>
                <a:gd name="T0" fmla="*/ 125 w 155"/>
                <a:gd name="T1" fmla="*/ 76 h 76"/>
                <a:gd name="T2" fmla="*/ 31 w 155"/>
                <a:gd name="T3" fmla="*/ 76 h 76"/>
                <a:gd name="T4" fmla="*/ 27 w 155"/>
                <a:gd name="T5" fmla="*/ 11 h 76"/>
                <a:gd name="T6" fmla="*/ 6 w 155"/>
                <a:gd name="T7" fmla="*/ 22 h 76"/>
                <a:gd name="T8" fmla="*/ 1 w 155"/>
                <a:gd name="T9" fmla="*/ 21 h 76"/>
                <a:gd name="T10" fmla="*/ 3 w 155"/>
                <a:gd name="T11" fmla="*/ 16 h 76"/>
                <a:gd name="T12" fmla="*/ 33 w 155"/>
                <a:gd name="T13" fmla="*/ 0 h 76"/>
                <a:gd name="T14" fmla="*/ 37 w 155"/>
                <a:gd name="T15" fmla="*/ 69 h 76"/>
                <a:gd name="T16" fmla="*/ 119 w 155"/>
                <a:gd name="T17" fmla="*/ 69 h 76"/>
                <a:gd name="T18" fmla="*/ 122 w 155"/>
                <a:gd name="T19" fmla="*/ 0 h 76"/>
                <a:gd name="T20" fmla="*/ 152 w 155"/>
                <a:gd name="T21" fmla="*/ 15 h 76"/>
                <a:gd name="T22" fmla="*/ 154 w 155"/>
                <a:gd name="T23" fmla="*/ 20 h 76"/>
                <a:gd name="T24" fmla="*/ 149 w 155"/>
                <a:gd name="T25" fmla="*/ 21 h 76"/>
                <a:gd name="T26" fmla="*/ 129 w 155"/>
                <a:gd name="T27" fmla="*/ 11 h 76"/>
                <a:gd name="T28" fmla="*/ 125 w 155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5" h="76">
                  <a:moveTo>
                    <a:pt x="125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4" y="23"/>
                    <a:pt x="2" y="23"/>
                    <a:pt x="1" y="21"/>
                  </a:cubicBezTo>
                  <a:cubicBezTo>
                    <a:pt x="0" y="19"/>
                    <a:pt x="1" y="17"/>
                    <a:pt x="3" y="16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4" y="16"/>
                    <a:pt x="155" y="18"/>
                    <a:pt x="154" y="20"/>
                  </a:cubicBezTo>
                  <a:cubicBezTo>
                    <a:pt x="153" y="22"/>
                    <a:pt x="151" y="22"/>
                    <a:pt x="149" y="21"/>
                  </a:cubicBezTo>
                  <a:cubicBezTo>
                    <a:pt x="129" y="11"/>
                    <a:pt x="129" y="11"/>
                    <a:pt x="129" y="11"/>
                  </a:cubicBezTo>
                  <a:lnTo>
                    <a:pt x="125" y="76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xmlns="" id="{D4EA593F-CC86-4664-93BF-9EBF76679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813" y="4806951"/>
              <a:ext cx="501650" cy="26988"/>
            </a:xfrm>
            <a:custGeom>
              <a:avLst/>
              <a:gdLst>
                <a:gd name="T0" fmla="*/ 149 w 152"/>
                <a:gd name="T1" fmla="*/ 7 h 8"/>
                <a:gd name="T2" fmla="*/ 4 w 152"/>
                <a:gd name="T3" fmla="*/ 8 h 8"/>
                <a:gd name="T4" fmla="*/ 0 w 152"/>
                <a:gd name="T5" fmla="*/ 5 h 8"/>
                <a:gd name="T6" fmla="*/ 4 w 152"/>
                <a:gd name="T7" fmla="*/ 1 h 8"/>
                <a:gd name="T8" fmla="*/ 149 w 152"/>
                <a:gd name="T9" fmla="*/ 0 h 8"/>
                <a:gd name="T10" fmla="*/ 152 w 152"/>
                <a:gd name="T11" fmla="*/ 4 h 8"/>
                <a:gd name="T12" fmla="*/ 149 w 152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8">
                  <a:moveTo>
                    <a:pt x="149" y="7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2" y="2"/>
                    <a:pt x="152" y="4"/>
                  </a:cubicBezTo>
                  <a:cubicBezTo>
                    <a:pt x="152" y="6"/>
                    <a:pt x="151" y="7"/>
                    <a:pt x="149" y="7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xmlns="" id="{4F89D190-DF12-4D04-A839-AA9DB3719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6275" y="3943351"/>
              <a:ext cx="461962" cy="280988"/>
            </a:xfrm>
            <a:custGeom>
              <a:avLst/>
              <a:gdLst>
                <a:gd name="T0" fmla="*/ 70 w 140"/>
                <a:gd name="T1" fmla="*/ 85 h 85"/>
                <a:gd name="T2" fmla="*/ 67 w 140"/>
                <a:gd name="T3" fmla="*/ 85 h 85"/>
                <a:gd name="T4" fmla="*/ 0 w 140"/>
                <a:gd name="T5" fmla="*/ 74 h 85"/>
                <a:gd name="T6" fmla="*/ 0 w 140"/>
                <a:gd name="T7" fmla="*/ 72 h 85"/>
                <a:gd name="T8" fmla="*/ 3 w 140"/>
                <a:gd name="T9" fmla="*/ 63 h 85"/>
                <a:gd name="T10" fmla="*/ 13 w 140"/>
                <a:gd name="T11" fmla="*/ 59 h 85"/>
                <a:gd name="T12" fmla="*/ 13 w 140"/>
                <a:gd name="T13" fmla="*/ 54 h 85"/>
                <a:gd name="T14" fmla="*/ 55 w 140"/>
                <a:gd name="T15" fmla="*/ 2 h 85"/>
                <a:gd name="T16" fmla="*/ 83 w 140"/>
                <a:gd name="T17" fmla="*/ 2 h 85"/>
                <a:gd name="T18" fmla="*/ 127 w 140"/>
                <a:gd name="T19" fmla="*/ 54 h 85"/>
                <a:gd name="T20" fmla="*/ 127 w 140"/>
                <a:gd name="T21" fmla="*/ 58 h 85"/>
                <a:gd name="T22" fmla="*/ 137 w 140"/>
                <a:gd name="T23" fmla="*/ 62 h 85"/>
                <a:gd name="T24" fmla="*/ 140 w 140"/>
                <a:gd name="T25" fmla="*/ 71 h 85"/>
                <a:gd name="T26" fmla="*/ 140 w 140"/>
                <a:gd name="T27" fmla="*/ 71 h 85"/>
                <a:gd name="T28" fmla="*/ 140 w 140"/>
                <a:gd name="T29" fmla="*/ 74 h 85"/>
                <a:gd name="T30" fmla="*/ 74 w 140"/>
                <a:gd name="T31" fmla="*/ 85 h 85"/>
                <a:gd name="T32" fmla="*/ 73 w 140"/>
                <a:gd name="T33" fmla="*/ 85 h 85"/>
                <a:gd name="T34" fmla="*/ 70 w 140"/>
                <a:gd name="T35" fmla="*/ 85 h 85"/>
                <a:gd name="T36" fmla="*/ 6 w 140"/>
                <a:gd name="T37" fmla="*/ 72 h 85"/>
                <a:gd name="T38" fmla="*/ 67 w 140"/>
                <a:gd name="T39" fmla="*/ 79 h 85"/>
                <a:gd name="T40" fmla="*/ 73 w 140"/>
                <a:gd name="T41" fmla="*/ 79 h 85"/>
                <a:gd name="T42" fmla="*/ 73 w 140"/>
                <a:gd name="T43" fmla="*/ 79 h 85"/>
                <a:gd name="T44" fmla="*/ 134 w 140"/>
                <a:gd name="T45" fmla="*/ 71 h 85"/>
                <a:gd name="T46" fmla="*/ 132 w 140"/>
                <a:gd name="T47" fmla="*/ 67 h 85"/>
                <a:gd name="T48" fmla="*/ 124 w 140"/>
                <a:gd name="T49" fmla="*/ 65 h 85"/>
                <a:gd name="T50" fmla="*/ 120 w 140"/>
                <a:gd name="T51" fmla="*/ 65 h 85"/>
                <a:gd name="T52" fmla="*/ 120 w 140"/>
                <a:gd name="T53" fmla="*/ 54 h 85"/>
                <a:gd name="T54" fmla="*/ 82 w 140"/>
                <a:gd name="T55" fmla="*/ 9 h 85"/>
                <a:gd name="T56" fmla="*/ 57 w 140"/>
                <a:gd name="T57" fmla="*/ 9 h 85"/>
                <a:gd name="T58" fmla="*/ 20 w 140"/>
                <a:gd name="T59" fmla="*/ 54 h 85"/>
                <a:gd name="T60" fmla="*/ 20 w 140"/>
                <a:gd name="T61" fmla="*/ 66 h 85"/>
                <a:gd name="T62" fmla="*/ 16 w 140"/>
                <a:gd name="T63" fmla="*/ 65 h 85"/>
                <a:gd name="T64" fmla="*/ 8 w 140"/>
                <a:gd name="T65" fmla="*/ 68 h 85"/>
                <a:gd name="T66" fmla="*/ 6 w 140"/>
                <a:gd name="T67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0" h="85">
                  <a:moveTo>
                    <a:pt x="70" y="85"/>
                  </a:moveTo>
                  <a:cubicBezTo>
                    <a:pt x="69" y="85"/>
                    <a:pt x="68" y="85"/>
                    <a:pt x="67" y="85"/>
                  </a:cubicBezTo>
                  <a:cubicBezTo>
                    <a:pt x="11" y="85"/>
                    <a:pt x="2" y="78"/>
                    <a:pt x="0" y="74"/>
                  </a:cubicBezTo>
                  <a:cubicBezTo>
                    <a:pt x="0" y="74"/>
                    <a:pt x="0" y="73"/>
                    <a:pt x="0" y="72"/>
                  </a:cubicBezTo>
                  <a:cubicBezTo>
                    <a:pt x="0" y="69"/>
                    <a:pt x="1" y="66"/>
                    <a:pt x="3" y="63"/>
                  </a:cubicBezTo>
                  <a:cubicBezTo>
                    <a:pt x="5" y="61"/>
                    <a:pt x="9" y="59"/>
                    <a:pt x="13" y="59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24"/>
                    <a:pt x="34" y="6"/>
                    <a:pt x="55" y="2"/>
                  </a:cubicBezTo>
                  <a:cubicBezTo>
                    <a:pt x="61" y="1"/>
                    <a:pt x="73" y="0"/>
                    <a:pt x="83" y="2"/>
                  </a:cubicBezTo>
                  <a:cubicBezTo>
                    <a:pt x="104" y="7"/>
                    <a:pt x="126" y="23"/>
                    <a:pt x="127" y="54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31" y="59"/>
                    <a:pt x="134" y="60"/>
                    <a:pt x="137" y="62"/>
                  </a:cubicBezTo>
                  <a:cubicBezTo>
                    <a:pt x="139" y="65"/>
                    <a:pt x="140" y="68"/>
                    <a:pt x="140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40" y="72"/>
                    <a:pt x="140" y="73"/>
                    <a:pt x="140" y="74"/>
                  </a:cubicBezTo>
                  <a:cubicBezTo>
                    <a:pt x="138" y="77"/>
                    <a:pt x="129" y="84"/>
                    <a:pt x="74" y="85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2" y="85"/>
                    <a:pt x="71" y="85"/>
                    <a:pt x="70" y="85"/>
                  </a:cubicBezTo>
                  <a:close/>
                  <a:moveTo>
                    <a:pt x="6" y="72"/>
                  </a:moveTo>
                  <a:cubicBezTo>
                    <a:pt x="9" y="75"/>
                    <a:pt x="29" y="79"/>
                    <a:pt x="67" y="79"/>
                  </a:cubicBezTo>
                  <a:cubicBezTo>
                    <a:pt x="69" y="79"/>
                    <a:pt x="71" y="79"/>
                    <a:pt x="73" y="79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111" y="78"/>
                    <a:pt x="131" y="74"/>
                    <a:pt x="134" y="71"/>
                  </a:cubicBezTo>
                  <a:cubicBezTo>
                    <a:pt x="133" y="69"/>
                    <a:pt x="133" y="68"/>
                    <a:pt x="132" y="67"/>
                  </a:cubicBezTo>
                  <a:cubicBezTo>
                    <a:pt x="130" y="65"/>
                    <a:pt x="127" y="65"/>
                    <a:pt x="124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54"/>
                    <a:pt x="120" y="54"/>
                    <a:pt x="120" y="54"/>
                  </a:cubicBezTo>
                  <a:cubicBezTo>
                    <a:pt x="120" y="27"/>
                    <a:pt x="100" y="13"/>
                    <a:pt x="82" y="9"/>
                  </a:cubicBezTo>
                  <a:cubicBezTo>
                    <a:pt x="75" y="7"/>
                    <a:pt x="66" y="7"/>
                    <a:pt x="57" y="9"/>
                  </a:cubicBezTo>
                  <a:cubicBezTo>
                    <a:pt x="38" y="12"/>
                    <a:pt x="19" y="27"/>
                    <a:pt x="20" y="54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3" y="65"/>
                    <a:pt x="10" y="66"/>
                    <a:pt x="8" y="68"/>
                  </a:cubicBezTo>
                  <a:cubicBezTo>
                    <a:pt x="7" y="69"/>
                    <a:pt x="6" y="70"/>
                    <a:pt x="6" y="72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xmlns="" id="{B261C841-48F0-4C24-8EA6-92AC13674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300" y="3949701"/>
              <a:ext cx="23812" cy="98425"/>
            </a:xfrm>
            <a:custGeom>
              <a:avLst/>
              <a:gdLst>
                <a:gd name="T0" fmla="*/ 4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4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6" y="30"/>
                    <a:pt x="4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xmlns="" id="{7081E97C-0325-4E46-BE78-87C98DA84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949701"/>
              <a:ext cx="23812" cy="98425"/>
            </a:xfrm>
            <a:custGeom>
              <a:avLst/>
              <a:gdLst>
                <a:gd name="T0" fmla="*/ 3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3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3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5" y="30"/>
                    <a:pt x="3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xmlns="" id="{EC27B546-FE3A-47C4-A018-351B6717AC32}"/>
              </a:ext>
            </a:extLst>
          </p:cNvPr>
          <p:cNvGrpSpPr>
            <a:grpSpLocks noChangeAspect="1"/>
          </p:cNvGrpSpPr>
          <p:nvPr/>
        </p:nvGrpSpPr>
        <p:grpSpPr>
          <a:xfrm>
            <a:off x="9671438" y="2190086"/>
            <a:ext cx="532799" cy="590842"/>
            <a:chOff x="3048000" y="3943351"/>
            <a:chExt cx="808038" cy="893762"/>
          </a:xfrm>
        </p:grpSpPr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xmlns="" id="{915D4BBE-104D-4FFE-9D14-72D563BBD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013" y="4227513"/>
              <a:ext cx="342900" cy="260350"/>
            </a:xfrm>
            <a:custGeom>
              <a:avLst/>
              <a:gdLst>
                <a:gd name="T0" fmla="*/ 53 w 104"/>
                <a:gd name="T1" fmla="*/ 78 h 79"/>
                <a:gd name="T2" fmla="*/ 0 w 104"/>
                <a:gd name="T3" fmla="*/ 4 h 79"/>
                <a:gd name="T4" fmla="*/ 3 w 104"/>
                <a:gd name="T5" fmla="*/ 1 h 79"/>
                <a:gd name="T6" fmla="*/ 3 w 104"/>
                <a:gd name="T7" fmla="*/ 1 h 79"/>
                <a:gd name="T8" fmla="*/ 7 w 104"/>
                <a:gd name="T9" fmla="*/ 4 h 79"/>
                <a:gd name="T10" fmla="*/ 52 w 104"/>
                <a:gd name="T11" fmla="*/ 71 h 79"/>
                <a:gd name="T12" fmla="*/ 97 w 104"/>
                <a:gd name="T13" fmla="*/ 4 h 79"/>
                <a:gd name="T14" fmla="*/ 101 w 104"/>
                <a:gd name="T15" fmla="*/ 0 h 79"/>
                <a:gd name="T16" fmla="*/ 101 w 104"/>
                <a:gd name="T17" fmla="*/ 0 h 79"/>
                <a:gd name="T18" fmla="*/ 104 w 104"/>
                <a:gd name="T19" fmla="*/ 4 h 79"/>
                <a:gd name="T20" fmla="*/ 53 w 104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79">
                  <a:moveTo>
                    <a:pt x="53" y="78"/>
                  </a:moveTo>
                  <a:cubicBezTo>
                    <a:pt x="24" y="79"/>
                    <a:pt x="0" y="45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1"/>
                    <a:pt x="7" y="2"/>
                    <a:pt x="7" y="4"/>
                  </a:cubicBezTo>
                  <a:cubicBezTo>
                    <a:pt x="7" y="41"/>
                    <a:pt x="28" y="72"/>
                    <a:pt x="52" y="71"/>
                  </a:cubicBezTo>
                  <a:cubicBezTo>
                    <a:pt x="77" y="71"/>
                    <a:pt x="97" y="41"/>
                    <a:pt x="97" y="4"/>
                  </a:cubicBezTo>
                  <a:cubicBezTo>
                    <a:pt x="97" y="2"/>
                    <a:pt x="99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45"/>
                    <a:pt x="81" y="78"/>
                    <a:pt x="53" y="78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xmlns="" id="{70B65042-930F-4A24-A6E1-FF989984F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0" y="4516438"/>
              <a:ext cx="168275" cy="320675"/>
            </a:xfrm>
            <a:custGeom>
              <a:avLst/>
              <a:gdLst>
                <a:gd name="T0" fmla="*/ 51 w 51"/>
                <a:gd name="T1" fmla="*/ 96 h 97"/>
                <a:gd name="T2" fmla="*/ 0 w 51"/>
                <a:gd name="T3" fmla="*/ 97 h 97"/>
                <a:gd name="T4" fmla="*/ 8 w 51"/>
                <a:gd name="T5" fmla="*/ 29 h 97"/>
                <a:gd name="T6" fmla="*/ 15 w 51"/>
                <a:gd name="T7" fmla="*/ 15 h 97"/>
                <a:gd name="T8" fmla="*/ 24 w 51"/>
                <a:gd name="T9" fmla="*/ 10 h 97"/>
                <a:gd name="T10" fmla="*/ 28 w 51"/>
                <a:gd name="T11" fmla="*/ 9 h 97"/>
                <a:gd name="T12" fmla="*/ 28 w 51"/>
                <a:gd name="T13" fmla="*/ 9 h 97"/>
                <a:gd name="T14" fmla="*/ 47 w 51"/>
                <a:gd name="T15" fmla="*/ 0 h 97"/>
                <a:gd name="T16" fmla="*/ 51 w 51"/>
                <a:gd name="T17" fmla="*/ 96 h 97"/>
                <a:gd name="T18" fmla="*/ 8 w 51"/>
                <a:gd name="T19" fmla="*/ 90 h 97"/>
                <a:gd name="T20" fmla="*/ 44 w 51"/>
                <a:gd name="T21" fmla="*/ 89 h 97"/>
                <a:gd name="T22" fmla="*/ 40 w 51"/>
                <a:gd name="T23" fmla="*/ 11 h 97"/>
                <a:gd name="T24" fmla="*/ 31 w 51"/>
                <a:gd name="T25" fmla="*/ 15 h 97"/>
                <a:gd name="T26" fmla="*/ 26 w 51"/>
                <a:gd name="T27" fmla="*/ 17 h 97"/>
                <a:gd name="T28" fmla="*/ 20 w 51"/>
                <a:gd name="T29" fmla="*/ 20 h 97"/>
                <a:gd name="T30" fmla="*/ 15 w 51"/>
                <a:gd name="T31" fmla="*/ 30 h 97"/>
                <a:gd name="T32" fmla="*/ 8 w 51"/>
                <a:gd name="T33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97">
                  <a:moveTo>
                    <a:pt x="51" y="96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4"/>
                    <a:pt x="11" y="19"/>
                    <a:pt x="15" y="15"/>
                  </a:cubicBezTo>
                  <a:cubicBezTo>
                    <a:pt x="17" y="12"/>
                    <a:pt x="21" y="11"/>
                    <a:pt x="24" y="10"/>
                  </a:cubicBezTo>
                  <a:cubicBezTo>
                    <a:pt x="25" y="10"/>
                    <a:pt x="27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51" y="96"/>
                  </a:lnTo>
                  <a:close/>
                  <a:moveTo>
                    <a:pt x="8" y="90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7" y="16"/>
                    <a:pt x="26" y="17"/>
                  </a:cubicBezTo>
                  <a:cubicBezTo>
                    <a:pt x="23" y="18"/>
                    <a:pt x="21" y="18"/>
                    <a:pt x="20" y="20"/>
                  </a:cubicBezTo>
                  <a:cubicBezTo>
                    <a:pt x="17" y="22"/>
                    <a:pt x="16" y="26"/>
                    <a:pt x="15" y="30"/>
                  </a:cubicBezTo>
                  <a:lnTo>
                    <a:pt x="8" y="90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xmlns="" id="{A174B255-66AE-4F1C-8EB3-3A88E44867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4588" y="4513263"/>
              <a:ext cx="171450" cy="317500"/>
            </a:xfrm>
            <a:custGeom>
              <a:avLst/>
              <a:gdLst>
                <a:gd name="T0" fmla="*/ 52 w 52"/>
                <a:gd name="T1" fmla="*/ 96 h 96"/>
                <a:gd name="T2" fmla="*/ 0 w 52"/>
                <a:gd name="T3" fmla="*/ 96 h 96"/>
                <a:gd name="T4" fmla="*/ 2 w 52"/>
                <a:gd name="T5" fmla="*/ 0 h 96"/>
                <a:gd name="T6" fmla="*/ 22 w 52"/>
                <a:gd name="T7" fmla="*/ 8 h 96"/>
                <a:gd name="T8" fmla="*/ 42 w 52"/>
                <a:gd name="T9" fmla="*/ 29 h 96"/>
                <a:gd name="T10" fmla="*/ 52 w 52"/>
                <a:gd name="T11" fmla="*/ 96 h 96"/>
                <a:gd name="T12" fmla="*/ 7 w 52"/>
                <a:gd name="T13" fmla="*/ 89 h 96"/>
                <a:gd name="T14" fmla="*/ 44 w 52"/>
                <a:gd name="T15" fmla="*/ 89 h 96"/>
                <a:gd name="T16" fmla="*/ 35 w 52"/>
                <a:gd name="T17" fmla="*/ 30 h 96"/>
                <a:gd name="T18" fmla="*/ 20 w 52"/>
                <a:gd name="T19" fmla="*/ 15 h 96"/>
                <a:gd name="T20" fmla="*/ 9 w 52"/>
                <a:gd name="T21" fmla="*/ 11 h 96"/>
                <a:gd name="T22" fmla="*/ 7 w 52"/>
                <a:gd name="T2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96">
                  <a:moveTo>
                    <a:pt x="52" y="96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32" y="12"/>
                    <a:pt x="41" y="17"/>
                    <a:pt x="42" y="29"/>
                  </a:cubicBezTo>
                  <a:lnTo>
                    <a:pt x="52" y="96"/>
                  </a:lnTo>
                  <a:close/>
                  <a:moveTo>
                    <a:pt x="7" y="89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4" y="22"/>
                    <a:pt x="29" y="18"/>
                    <a:pt x="20" y="15"/>
                  </a:cubicBezTo>
                  <a:cubicBezTo>
                    <a:pt x="9" y="11"/>
                    <a:pt x="9" y="11"/>
                    <a:pt x="9" y="11"/>
                  </a:cubicBezTo>
                  <a:lnTo>
                    <a:pt x="7" y="89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xmlns="" id="{5D6C423B-4071-4F71-BA72-CEE73396D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463" y="4464051"/>
              <a:ext cx="511175" cy="250825"/>
            </a:xfrm>
            <a:custGeom>
              <a:avLst/>
              <a:gdLst>
                <a:gd name="T0" fmla="*/ 125 w 155"/>
                <a:gd name="T1" fmla="*/ 76 h 76"/>
                <a:gd name="T2" fmla="*/ 31 w 155"/>
                <a:gd name="T3" fmla="*/ 76 h 76"/>
                <a:gd name="T4" fmla="*/ 27 w 155"/>
                <a:gd name="T5" fmla="*/ 11 h 76"/>
                <a:gd name="T6" fmla="*/ 6 w 155"/>
                <a:gd name="T7" fmla="*/ 22 h 76"/>
                <a:gd name="T8" fmla="*/ 1 w 155"/>
                <a:gd name="T9" fmla="*/ 21 h 76"/>
                <a:gd name="T10" fmla="*/ 3 w 155"/>
                <a:gd name="T11" fmla="*/ 16 h 76"/>
                <a:gd name="T12" fmla="*/ 33 w 155"/>
                <a:gd name="T13" fmla="*/ 0 h 76"/>
                <a:gd name="T14" fmla="*/ 37 w 155"/>
                <a:gd name="T15" fmla="*/ 69 h 76"/>
                <a:gd name="T16" fmla="*/ 119 w 155"/>
                <a:gd name="T17" fmla="*/ 69 h 76"/>
                <a:gd name="T18" fmla="*/ 122 w 155"/>
                <a:gd name="T19" fmla="*/ 0 h 76"/>
                <a:gd name="T20" fmla="*/ 152 w 155"/>
                <a:gd name="T21" fmla="*/ 15 h 76"/>
                <a:gd name="T22" fmla="*/ 154 w 155"/>
                <a:gd name="T23" fmla="*/ 20 h 76"/>
                <a:gd name="T24" fmla="*/ 149 w 155"/>
                <a:gd name="T25" fmla="*/ 21 h 76"/>
                <a:gd name="T26" fmla="*/ 129 w 155"/>
                <a:gd name="T27" fmla="*/ 11 h 76"/>
                <a:gd name="T28" fmla="*/ 125 w 155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5" h="76">
                  <a:moveTo>
                    <a:pt x="125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4" y="23"/>
                    <a:pt x="2" y="23"/>
                    <a:pt x="1" y="21"/>
                  </a:cubicBezTo>
                  <a:cubicBezTo>
                    <a:pt x="0" y="19"/>
                    <a:pt x="1" y="17"/>
                    <a:pt x="3" y="16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4" y="16"/>
                    <a:pt x="155" y="18"/>
                    <a:pt x="154" y="20"/>
                  </a:cubicBezTo>
                  <a:cubicBezTo>
                    <a:pt x="153" y="22"/>
                    <a:pt x="151" y="22"/>
                    <a:pt x="149" y="21"/>
                  </a:cubicBezTo>
                  <a:cubicBezTo>
                    <a:pt x="129" y="11"/>
                    <a:pt x="129" y="11"/>
                    <a:pt x="129" y="11"/>
                  </a:cubicBezTo>
                  <a:lnTo>
                    <a:pt x="125" y="76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xmlns="" id="{68F268C5-025F-4C5B-94D7-51CE2E74A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813" y="4806951"/>
              <a:ext cx="501650" cy="26988"/>
            </a:xfrm>
            <a:custGeom>
              <a:avLst/>
              <a:gdLst>
                <a:gd name="T0" fmla="*/ 149 w 152"/>
                <a:gd name="T1" fmla="*/ 7 h 8"/>
                <a:gd name="T2" fmla="*/ 4 w 152"/>
                <a:gd name="T3" fmla="*/ 8 h 8"/>
                <a:gd name="T4" fmla="*/ 0 w 152"/>
                <a:gd name="T5" fmla="*/ 5 h 8"/>
                <a:gd name="T6" fmla="*/ 4 w 152"/>
                <a:gd name="T7" fmla="*/ 1 h 8"/>
                <a:gd name="T8" fmla="*/ 149 w 152"/>
                <a:gd name="T9" fmla="*/ 0 h 8"/>
                <a:gd name="T10" fmla="*/ 152 w 152"/>
                <a:gd name="T11" fmla="*/ 4 h 8"/>
                <a:gd name="T12" fmla="*/ 149 w 152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8">
                  <a:moveTo>
                    <a:pt x="149" y="7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2" y="2"/>
                    <a:pt x="152" y="4"/>
                  </a:cubicBezTo>
                  <a:cubicBezTo>
                    <a:pt x="152" y="6"/>
                    <a:pt x="151" y="7"/>
                    <a:pt x="149" y="7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59" name="Freeform 19">
              <a:extLst>
                <a:ext uri="{FF2B5EF4-FFF2-40B4-BE49-F238E27FC236}">
                  <a16:creationId xmlns:a16="http://schemas.microsoft.com/office/drawing/2014/main" xmlns="" id="{C7A94AE5-A54A-4232-B52A-B008BCE086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6275" y="3943351"/>
              <a:ext cx="461962" cy="280988"/>
            </a:xfrm>
            <a:custGeom>
              <a:avLst/>
              <a:gdLst>
                <a:gd name="T0" fmla="*/ 70 w 140"/>
                <a:gd name="T1" fmla="*/ 85 h 85"/>
                <a:gd name="T2" fmla="*/ 67 w 140"/>
                <a:gd name="T3" fmla="*/ 85 h 85"/>
                <a:gd name="T4" fmla="*/ 0 w 140"/>
                <a:gd name="T5" fmla="*/ 74 h 85"/>
                <a:gd name="T6" fmla="*/ 0 w 140"/>
                <a:gd name="T7" fmla="*/ 72 h 85"/>
                <a:gd name="T8" fmla="*/ 3 w 140"/>
                <a:gd name="T9" fmla="*/ 63 h 85"/>
                <a:gd name="T10" fmla="*/ 13 w 140"/>
                <a:gd name="T11" fmla="*/ 59 h 85"/>
                <a:gd name="T12" fmla="*/ 13 w 140"/>
                <a:gd name="T13" fmla="*/ 54 h 85"/>
                <a:gd name="T14" fmla="*/ 55 w 140"/>
                <a:gd name="T15" fmla="*/ 2 h 85"/>
                <a:gd name="T16" fmla="*/ 83 w 140"/>
                <a:gd name="T17" fmla="*/ 2 h 85"/>
                <a:gd name="T18" fmla="*/ 127 w 140"/>
                <a:gd name="T19" fmla="*/ 54 h 85"/>
                <a:gd name="T20" fmla="*/ 127 w 140"/>
                <a:gd name="T21" fmla="*/ 58 h 85"/>
                <a:gd name="T22" fmla="*/ 137 w 140"/>
                <a:gd name="T23" fmla="*/ 62 h 85"/>
                <a:gd name="T24" fmla="*/ 140 w 140"/>
                <a:gd name="T25" fmla="*/ 71 h 85"/>
                <a:gd name="T26" fmla="*/ 140 w 140"/>
                <a:gd name="T27" fmla="*/ 71 h 85"/>
                <a:gd name="T28" fmla="*/ 140 w 140"/>
                <a:gd name="T29" fmla="*/ 74 h 85"/>
                <a:gd name="T30" fmla="*/ 74 w 140"/>
                <a:gd name="T31" fmla="*/ 85 h 85"/>
                <a:gd name="T32" fmla="*/ 73 w 140"/>
                <a:gd name="T33" fmla="*/ 85 h 85"/>
                <a:gd name="T34" fmla="*/ 70 w 140"/>
                <a:gd name="T35" fmla="*/ 85 h 85"/>
                <a:gd name="T36" fmla="*/ 6 w 140"/>
                <a:gd name="T37" fmla="*/ 72 h 85"/>
                <a:gd name="T38" fmla="*/ 67 w 140"/>
                <a:gd name="T39" fmla="*/ 79 h 85"/>
                <a:gd name="T40" fmla="*/ 73 w 140"/>
                <a:gd name="T41" fmla="*/ 79 h 85"/>
                <a:gd name="T42" fmla="*/ 73 w 140"/>
                <a:gd name="T43" fmla="*/ 79 h 85"/>
                <a:gd name="T44" fmla="*/ 134 w 140"/>
                <a:gd name="T45" fmla="*/ 71 h 85"/>
                <a:gd name="T46" fmla="*/ 132 w 140"/>
                <a:gd name="T47" fmla="*/ 67 h 85"/>
                <a:gd name="T48" fmla="*/ 124 w 140"/>
                <a:gd name="T49" fmla="*/ 65 h 85"/>
                <a:gd name="T50" fmla="*/ 120 w 140"/>
                <a:gd name="T51" fmla="*/ 65 h 85"/>
                <a:gd name="T52" fmla="*/ 120 w 140"/>
                <a:gd name="T53" fmla="*/ 54 h 85"/>
                <a:gd name="T54" fmla="*/ 82 w 140"/>
                <a:gd name="T55" fmla="*/ 9 h 85"/>
                <a:gd name="T56" fmla="*/ 57 w 140"/>
                <a:gd name="T57" fmla="*/ 9 h 85"/>
                <a:gd name="T58" fmla="*/ 20 w 140"/>
                <a:gd name="T59" fmla="*/ 54 h 85"/>
                <a:gd name="T60" fmla="*/ 20 w 140"/>
                <a:gd name="T61" fmla="*/ 66 h 85"/>
                <a:gd name="T62" fmla="*/ 16 w 140"/>
                <a:gd name="T63" fmla="*/ 65 h 85"/>
                <a:gd name="T64" fmla="*/ 8 w 140"/>
                <a:gd name="T65" fmla="*/ 68 h 85"/>
                <a:gd name="T66" fmla="*/ 6 w 140"/>
                <a:gd name="T67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0" h="85">
                  <a:moveTo>
                    <a:pt x="70" y="85"/>
                  </a:moveTo>
                  <a:cubicBezTo>
                    <a:pt x="69" y="85"/>
                    <a:pt x="68" y="85"/>
                    <a:pt x="67" y="85"/>
                  </a:cubicBezTo>
                  <a:cubicBezTo>
                    <a:pt x="11" y="85"/>
                    <a:pt x="2" y="78"/>
                    <a:pt x="0" y="74"/>
                  </a:cubicBezTo>
                  <a:cubicBezTo>
                    <a:pt x="0" y="74"/>
                    <a:pt x="0" y="73"/>
                    <a:pt x="0" y="72"/>
                  </a:cubicBezTo>
                  <a:cubicBezTo>
                    <a:pt x="0" y="69"/>
                    <a:pt x="1" y="66"/>
                    <a:pt x="3" y="63"/>
                  </a:cubicBezTo>
                  <a:cubicBezTo>
                    <a:pt x="5" y="61"/>
                    <a:pt x="9" y="59"/>
                    <a:pt x="13" y="59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24"/>
                    <a:pt x="34" y="6"/>
                    <a:pt x="55" y="2"/>
                  </a:cubicBezTo>
                  <a:cubicBezTo>
                    <a:pt x="61" y="1"/>
                    <a:pt x="73" y="0"/>
                    <a:pt x="83" y="2"/>
                  </a:cubicBezTo>
                  <a:cubicBezTo>
                    <a:pt x="104" y="7"/>
                    <a:pt x="126" y="23"/>
                    <a:pt x="127" y="54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31" y="59"/>
                    <a:pt x="134" y="60"/>
                    <a:pt x="137" y="62"/>
                  </a:cubicBezTo>
                  <a:cubicBezTo>
                    <a:pt x="139" y="65"/>
                    <a:pt x="140" y="68"/>
                    <a:pt x="140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40" y="72"/>
                    <a:pt x="140" y="73"/>
                    <a:pt x="140" y="74"/>
                  </a:cubicBezTo>
                  <a:cubicBezTo>
                    <a:pt x="138" y="77"/>
                    <a:pt x="129" y="84"/>
                    <a:pt x="74" y="85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2" y="85"/>
                    <a:pt x="71" y="85"/>
                    <a:pt x="70" y="85"/>
                  </a:cubicBezTo>
                  <a:close/>
                  <a:moveTo>
                    <a:pt x="6" y="72"/>
                  </a:moveTo>
                  <a:cubicBezTo>
                    <a:pt x="9" y="75"/>
                    <a:pt x="29" y="79"/>
                    <a:pt x="67" y="79"/>
                  </a:cubicBezTo>
                  <a:cubicBezTo>
                    <a:pt x="69" y="79"/>
                    <a:pt x="71" y="79"/>
                    <a:pt x="73" y="79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111" y="78"/>
                    <a:pt x="131" y="74"/>
                    <a:pt x="134" y="71"/>
                  </a:cubicBezTo>
                  <a:cubicBezTo>
                    <a:pt x="133" y="69"/>
                    <a:pt x="133" y="68"/>
                    <a:pt x="132" y="67"/>
                  </a:cubicBezTo>
                  <a:cubicBezTo>
                    <a:pt x="130" y="65"/>
                    <a:pt x="127" y="65"/>
                    <a:pt x="124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54"/>
                    <a:pt x="120" y="54"/>
                    <a:pt x="120" y="54"/>
                  </a:cubicBezTo>
                  <a:cubicBezTo>
                    <a:pt x="120" y="27"/>
                    <a:pt x="100" y="13"/>
                    <a:pt x="82" y="9"/>
                  </a:cubicBezTo>
                  <a:cubicBezTo>
                    <a:pt x="75" y="7"/>
                    <a:pt x="66" y="7"/>
                    <a:pt x="57" y="9"/>
                  </a:cubicBezTo>
                  <a:cubicBezTo>
                    <a:pt x="38" y="12"/>
                    <a:pt x="19" y="27"/>
                    <a:pt x="20" y="54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3" y="65"/>
                    <a:pt x="10" y="66"/>
                    <a:pt x="8" y="68"/>
                  </a:cubicBezTo>
                  <a:cubicBezTo>
                    <a:pt x="7" y="69"/>
                    <a:pt x="6" y="70"/>
                    <a:pt x="6" y="72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60" name="Freeform 20">
              <a:extLst>
                <a:ext uri="{FF2B5EF4-FFF2-40B4-BE49-F238E27FC236}">
                  <a16:creationId xmlns:a16="http://schemas.microsoft.com/office/drawing/2014/main" xmlns="" id="{98DB6D1E-903A-420F-8D41-81CE928D7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300" y="3949701"/>
              <a:ext cx="23812" cy="98425"/>
            </a:xfrm>
            <a:custGeom>
              <a:avLst/>
              <a:gdLst>
                <a:gd name="T0" fmla="*/ 4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4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6" y="30"/>
                    <a:pt x="4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61" name="Freeform 21">
              <a:extLst>
                <a:ext uri="{FF2B5EF4-FFF2-40B4-BE49-F238E27FC236}">
                  <a16:creationId xmlns:a16="http://schemas.microsoft.com/office/drawing/2014/main" xmlns="" id="{A3D331A6-2494-46D8-A0F5-8172A7ED0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949701"/>
              <a:ext cx="23812" cy="98425"/>
            </a:xfrm>
            <a:custGeom>
              <a:avLst/>
              <a:gdLst>
                <a:gd name="T0" fmla="*/ 3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3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3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5" y="30"/>
                    <a:pt x="3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xmlns="" id="{C759C7DA-BB4F-4346-988A-1A6E1196B64D}"/>
              </a:ext>
            </a:extLst>
          </p:cNvPr>
          <p:cNvGrpSpPr>
            <a:grpSpLocks noChangeAspect="1"/>
          </p:cNvGrpSpPr>
          <p:nvPr/>
        </p:nvGrpSpPr>
        <p:grpSpPr>
          <a:xfrm>
            <a:off x="9671438" y="3270206"/>
            <a:ext cx="532799" cy="590842"/>
            <a:chOff x="3048000" y="3943351"/>
            <a:chExt cx="808038" cy="893762"/>
          </a:xfrm>
        </p:grpSpPr>
        <p:sp>
          <p:nvSpPr>
            <p:cNvPr id="66" name="Freeform 14">
              <a:extLst>
                <a:ext uri="{FF2B5EF4-FFF2-40B4-BE49-F238E27FC236}">
                  <a16:creationId xmlns:a16="http://schemas.microsoft.com/office/drawing/2014/main" xmlns="" id="{FCECF580-543F-47B6-A918-50168068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013" y="4227513"/>
              <a:ext cx="342900" cy="260350"/>
            </a:xfrm>
            <a:custGeom>
              <a:avLst/>
              <a:gdLst>
                <a:gd name="T0" fmla="*/ 53 w 104"/>
                <a:gd name="T1" fmla="*/ 78 h 79"/>
                <a:gd name="T2" fmla="*/ 0 w 104"/>
                <a:gd name="T3" fmla="*/ 4 h 79"/>
                <a:gd name="T4" fmla="*/ 3 w 104"/>
                <a:gd name="T5" fmla="*/ 1 h 79"/>
                <a:gd name="T6" fmla="*/ 3 w 104"/>
                <a:gd name="T7" fmla="*/ 1 h 79"/>
                <a:gd name="T8" fmla="*/ 7 w 104"/>
                <a:gd name="T9" fmla="*/ 4 h 79"/>
                <a:gd name="T10" fmla="*/ 52 w 104"/>
                <a:gd name="T11" fmla="*/ 71 h 79"/>
                <a:gd name="T12" fmla="*/ 97 w 104"/>
                <a:gd name="T13" fmla="*/ 4 h 79"/>
                <a:gd name="T14" fmla="*/ 101 w 104"/>
                <a:gd name="T15" fmla="*/ 0 h 79"/>
                <a:gd name="T16" fmla="*/ 101 w 104"/>
                <a:gd name="T17" fmla="*/ 0 h 79"/>
                <a:gd name="T18" fmla="*/ 104 w 104"/>
                <a:gd name="T19" fmla="*/ 4 h 79"/>
                <a:gd name="T20" fmla="*/ 53 w 104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79">
                  <a:moveTo>
                    <a:pt x="53" y="78"/>
                  </a:moveTo>
                  <a:cubicBezTo>
                    <a:pt x="24" y="79"/>
                    <a:pt x="0" y="45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1"/>
                    <a:pt x="7" y="2"/>
                    <a:pt x="7" y="4"/>
                  </a:cubicBezTo>
                  <a:cubicBezTo>
                    <a:pt x="7" y="41"/>
                    <a:pt x="28" y="72"/>
                    <a:pt x="52" y="71"/>
                  </a:cubicBezTo>
                  <a:cubicBezTo>
                    <a:pt x="77" y="71"/>
                    <a:pt x="97" y="41"/>
                    <a:pt x="97" y="4"/>
                  </a:cubicBezTo>
                  <a:cubicBezTo>
                    <a:pt x="97" y="2"/>
                    <a:pt x="99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45"/>
                    <a:pt x="81" y="78"/>
                    <a:pt x="53" y="78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67" name="Freeform 15">
              <a:extLst>
                <a:ext uri="{FF2B5EF4-FFF2-40B4-BE49-F238E27FC236}">
                  <a16:creationId xmlns:a16="http://schemas.microsoft.com/office/drawing/2014/main" xmlns="" id="{4A622D7C-0E41-4F5C-8B18-3858927A87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0" y="4516438"/>
              <a:ext cx="168275" cy="320675"/>
            </a:xfrm>
            <a:custGeom>
              <a:avLst/>
              <a:gdLst>
                <a:gd name="T0" fmla="*/ 51 w 51"/>
                <a:gd name="T1" fmla="*/ 96 h 97"/>
                <a:gd name="T2" fmla="*/ 0 w 51"/>
                <a:gd name="T3" fmla="*/ 97 h 97"/>
                <a:gd name="T4" fmla="*/ 8 w 51"/>
                <a:gd name="T5" fmla="*/ 29 h 97"/>
                <a:gd name="T6" fmla="*/ 15 w 51"/>
                <a:gd name="T7" fmla="*/ 15 h 97"/>
                <a:gd name="T8" fmla="*/ 24 w 51"/>
                <a:gd name="T9" fmla="*/ 10 h 97"/>
                <a:gd name="T10" fmla="*/ 28 w 51"/>
                <a:gd name="T11" fmla="*/ 9 h 97"/>
                <a:gd name="T12" fmla="*/ 28 w 51"/>
                <a:gd name="T13" fmla="*/ 9 h 97"/>
                <a:gd name="T14" fmla="*/ 47 w 51"/>
                <a:gd name="T15" fmla="*/ 0 h 97"/>
                <a:gd name="T16" fmla="*/ 51 w 51"/>
                <a:gd name="T17" fmla="*/ 96 h 97"/>
                <a:gd name="T18" fmla="*/ 8 w 51"/>
                <a:gd name="T19" fmla="*/ 90 h 97"/>
                <a:gd name="T20" fmla="*/ 44 w 51"/>
                <a:gd name="T21" fmla="*/ 89 h 97"/>
                <a:gd name="T22" fmla="*/ 40 w 51"/>
                <a:gd name="T23" fmla="*/ 11 h 97"/>
                <a:gd name="T24" fmla="*/ 31 w 51"/>
                <a:gd name="T25" fmla="*/ 15 h 97"/>
                <a:gd name="T26" fmla="*/ 26 w 51"/>
                <a:gd name="T27" fmla="*/ 17 h 97"/>
                <a:gd name="T28" fmla="*/ 20 w 51"/>
                <a:gd name="T29" fmla="*/ 20 h 97"/>
                <a:gd name="T30" fmla="*/ 15 w 51"/>
                <a:gd name="T31" fmla="*/ 30 h 97"/>
                <a:gd name="T32" fmla="*/ 8 w 51"/>
                <a:gd name="T33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97">
                  <a:moveTo>
                    <a:pt x="51" y="96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4"/>
                    <a:pt x="11" y="19"/>
                    <a:pt x="15" y="15"/>
                  </a:cubicBezTo>
                  <a:cubicBezTo>
                    <a:pt x="17" y="12"/>
                    <a:pt x="21" y="11"/>
                    <a:pt x="24" y="10"/>
                  </a:cubicBezTo>
                  <a:cubicBezTo>
                    <a:pt x="25" y="10"/>
                    <a:pt x="27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51" y="96"/>
                  </a:lnTo>
                  <a:close/>
                  <a:moveTo>
                    <a:pt x="8" y="90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7" y="16"/>
                    <a:pt x="26" y="17"/>
                  </a:cubicBezTo>
                  <a:cubicBezTo>
                    <a:pt x="23" y="18"/>
                    <a:pt x="21" y="18"/>
                    <a:pt x="20" y="20"/>
                  </a:cubicBezTo>
                  <a:cubicBezTo>
                    <a:pt x="17" y="22"/>
                    <a:pt x="16" y="26"/>
                    <a:pt x="15" y="30"/>
                  </a:cubicBezTo>
                  <a:lnTo>
                    <a:pt x="8" y="90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68" name="Freeform 16">
              <a:extLst>
                <a:ext uri="{FF2B5EF4-FFF2-40B4-BE49-F238E27FC236}">
                  <a16:creationId xmlns:a16="http://schemas.microsoft.com/office/drawing/2014/main" xmlns="" id="{96131CCF-F751-4FF3-8212-5CBD813B44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4588" y="4513263"/>
              <a:ext cx="171450" cy="317500"/>
            </a:xfrm>
            <a:custGeom>
              <a:avLst/>
              <a:gdLst>
                <a:gd name="T0" fmla="*/ 52 w 52"/>
                <a:gd name="T1" fmla="*/ 96 h 96"/>
                <a:gd name="T2" fmla="*/ 0 w 52"/>
                <a:gd name="T3" fmla="*/ 96 h 96"/>
                <a:gd name="T4" fmla="*/ 2 w 52"/>
                <a:gd name="T5" fmla="*/ 0 h 96"/>
                <a:gd name="T6" fmla="*/ 22 w 52"/>
                <a:gd name="T7" fmla="*/ 8 h 96"/>
                <a:gd name="T8" fmla="*/ 42 w 52"/>
                <a:gd name="T9" fmla="*/ 29 h 96"/>
                <a:gd name="T10" fmla="*/ 52 w 52"/>
                <a:gd name="T11" fmla="*/ 96 h 96"/>
                <a:gd name="T12" fmla="*/ 7 w 52"/>
                <a:gd name="T13" fmla="*/ 89 h 96"/>
                <a:gd name="T14" fmla="*/ 44 w 52"/>
                <a:gd name="T15" fmla="*/ 89 h 96"/>
                <a:gd name="T16" fmla="*/ 35 w 52"/>
                <a:gd name="T17" fmla="*/ 30 h 96"/>
                <a:gd name="T18" fmla="*/ 20 w 52"/>
                <a:gd name="T19" fmla="*/ 15 h 96"/>
                <a:gd name="T20" fmla="*/ 9 w 52"/>
                <a:gd name="T21" fmla="*/ 11 h 96"/>
                <a:gd name="T22" fmla="*/ 7 w 52"/>
                <a:gd name="T2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96">
                  <a:moveTo>
                    <a:pt x="52" y="96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32" y="12"/>
                    <a:pt x="41" y="17"/>
                    <a:pt x="42" y="29"/>
                  </a:cubicBezTo>
                  <a:lnTo>
                    <a:pt x="52" y="96"/>
                  </a:lnTo>
                  <a:close/>
                  <a:moveTo>
                    <a:pt x="7" y="89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4" y="22"/>
                    <a:pt x="29" y="18"/>
                    <a:pt x="20" y="15"/>
                  </a:cubicBezTo>
                  <a:cubicBezTo>
                    <a:pt x="9" y="11"/>
                    <a:pt x="9" y="11"/>
                    <a:pt x="9" y="11"/>
                  </a:cubicBezTo>
                  <a:lnTo>
                    <a:pt x="7" y="89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xmlns="" id="{226C757C-3ACA-4639-B5E1-48D271DB9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463" y="4464051"/>
              <a:ext cx="511175" cy="250825"/>
            </a:xfrm>
            <a:custGeom>
              <a:avLst/>
              <a:gdLst>
                <a:gd name="T0" fmla="*/ 125 w 155"/>
                <a:gd name="T1" fmla="*/ 76 h 76"/>
                <a:gd name="T2" fmla="*/ 31 w 155"/>
                <a:gd name="T3" fmla="*/ 76 h 76"/>
                <a:gd name="T4" fmla="*/ 27 w 155"/>
                <a:gd name="T5" fmla="*/ 11 h 76"/>
                <a:gd name="T6" fmla="*/ 6 w 155"/>
                <a:gd name="T7" fmla="*/ 22 h 76"/>
                <a:gd name="T8" fmla="*/ 1 w 155"/>
                <a:gd name="T9" fmla="*/ 21 h 76"/>
                <a:gd name="T10" fmla="*/ 3 w 155"/>
                <a:gd name="T11" fmla="*/ 16 h 76"/>
                <a:gd name="T12" fmla="*/ 33 w 155"/>
                <a:gd name="T13" fmla="*/ 0 h 76"/>
                <a:gd name="T14" fmla="*/ 37 w 155"/>
                <a:gd name="T15" fmla="*/ 69 h 76"/>
                <a:gd name="T16" fmla="*/ 119 w 155"/>
                <a:gd name="T17" fmla="*/ 69 h 76"/>
                <a:gd name="T18" fmla="*/ 122 w 155"/>
                <a:gd name="T19" fmla="*/ 0 h 76"/>
                <a:gd name="T20" fmla="*/ 152 w 155"/>
                <a:gd name="T21" fmla="*/ 15 h 76"/>
                <a:gd name="T22" fmla="*/ 154 w 155"/>
                <a:gd name="T23" fmla="*/ 20 h 76"/>
                <a:gd name="T24" fmla="*/ 149 w 155"/>
                <a:gd name="T25" fmla="*/ 21 h 76"/>
                <a:gd name="T26" fmla="*/ 129 w 155"/>
                <a:gd name="T27" fmla="*/ 11 h 76"/>
                <a:gd name="T28" fmla="*/ 125 w 155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5" h="76">
                  <a:moveTo>
                    <a:pt x="125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4" y="23"/>
                    <a:pt x="2" y="23"/>
                    <a:pt x="1" y="21"/>
                  </a:cubicBezTo>
                  <a:cubicBezTo>
                    <a:pt x="0" y="19"/>
                    <a:pt x="1" y="17"/>
                    <a:pt x="3" y="16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4" y="16"/>
                    <a:pt x="155" y="18"/>
                    <a:pt x="154" y="20"/>
                  </a:cubicBezTo>
                  <a:cubicBezTo>
                    <a:pt x="153" y="22"/>
                    <a:pt x="151" y="22"/>
                    <a:pt x="149" y="21"/>
                  </a:cubicBezTo>
                  <a:cubicBezTo>
                    <a:pt x="129" y="11"/>
                    <a:pt x="129" y="11"/>
                    <a:pt x="129" y="11"/>
                  </a:cubicBezTo>
                  <a:lnTo>
                    <a:pt x="125" y="76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xmlns="" id="{7B806900-F2B2-4390-A5B7-C02947206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813" y="4806951"/>
              <a:ext cx="501650" cy="26988"/>
            </a:xfrm>
            <a:custGeom>
              <a:avLst/>
              <a:gdLst>
                <a:gd name="T0" fmla="*/ 149 w 152"/>
                <a:gd name="T1" fmla="*/ 7 h 8"/>
                <a:gd name="T2" fmla="*/ 4 w 152"/>
                <a:gd name="T3" fmla="*/ 8 h 8"/>
                <a:gd name="T4" fmla="*/ 0 w 152"/>
                <a:gd name="T5" fmla="*/ 5 h 8"/>
                <a:gd name="T6" fmla="*/ 4 w 152"/>
                <a:gd name="T7" fmla="*/ 1 h 8"/>
                <a:gd name="T8" fmla="*/ 149 w 152"/>
                <a:gd name="T9" fmla="*/ 0 h 8"/>
                <a:gd name="T10" fmla="*/ 152 w 152"/>
                <a:gd name="T11" fmla="*/ 4 h 8"/>
                <a:gd name="T12" fmla="*/ 149 w 152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8">
                  <a:moveTo>
                    <a:pt x="149" y="7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2" y="2"/>
                    <a:pt x="152" y="4"/>
                  </a:cubicBezTo>
                  <a:cubicBezTo>
                    <a:pt x="152" y="6"/>
                    <a:pt x="151" y="7"/>
                    <a:pt x="149" y="7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xmlns="" id="{CE89064D-F59B-4701-A1AE-17C3C9053B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6275" y="3943351"/>
              <a:ext cx="461962" cy="280988"/>
            </a:xfrm>
            <a:custGeom>
              <a:avLst/>
              <a:gdLst>
                <a:gd name="T0" fmla="*/ 70 w 140"/>
                <a:gd name="T1" fmla="*/ 85 h 85"/>
                <a:gd name="T2" fmla="*/ 67 w 140"/>
                <a:gd name="T3" fmla="*/ 85 h 85"/>
                <a:gd name="T4" fmla="*/ 0 w 140"/>
                <a:gd name="T5" fmla="*/ 74 h 85"/>
                <a:gd name="T6" fmla="*/ 0 w 140"/>
                <a:gd name="T7" fmla="*/ 72 h 85"/>
                <a:gd name="T8" fmla="*/ 3 w 140"/>
                <a:gd name="T9" fmla="*/ 63 h 85"/>
                <a:gd name="T10" fmla="*/ 13 w 140"/>
                <a:gd name="T11" fmla="*/ 59 h 85"/>
                <a:gd name="T12" fmla="*/ 13 w 140"/>
                <a:gd name="T13" fmla="*/ 54 h 85"/>
                <a:gd name="T14" fmla="*/ 55 w 140"/>
                <a:gd name="T15" fmla="*/ 2 h 85"/>
                <a:gd name="T16" fmla="*/ 83 w 140"/>
                <a:gd name="T17" fmla="*/ 2 h 85"/>
                <a:gd name="T18" fmla="*/ 127 w 140"/>
                <a:gd name="T19" fmla="*/ 54 h 85"/>
                <a:gd name="T20" fmla="*/ 127 w 140"/>
                <a:gd name="T21" fmla="*/ 58 h 85"/>
                <a:gd name="T22" fmla="*/ 137 w 140"/>
                <a:gd name="T23" fmla="*/ 62 h 85"/>
                <a:gd name="T24" fmla="*/ 140 w 140"/>
                <a:gd name="T25" fmla="*/ 71 h 85"/>
                <a:gd name="T26" fmla="*/ 140 w 140"/>
                <a:gd name="T27" fmla="*/ 71 h 85"/>
                <a:gd name="T28" fmla="*/ 140 w 140"/>
                <a:gd name="T29" fmla="*/ 74 h 85"/>
                <a:gd name="T30" fmla="*/ 74 w 140"/>
                <a:gd name="T31" fmla="*/ 85 h 85"/>
                <a:gd name="T32" fmla="*/ 73 w 140"/>
                <a:gd name="T33" fmla="*/ 85 h 85"/>
                <a:gd name="T34" fmla="*/ 70 w 140"/>
                <a:gd name="T35" fmla="*/ 85 h 85"/>
                <a:gd name="T36" fmla="*/ 6 w 140"/>
                <a:gd name="T37" fmla="*/ 72 h 85"/>
                <a:gd name="T38" fmla="*/ 67 w 140"/>
                <a:gd name="T39" fmla="*/ 79 h 85"/>
                <a:gd name="T40" fmla="*/ 73 w 140"/>
                <a:gd name="T41" fmla="*/ 79 h 85"/>
                <a:gd name="T42" fmla="*/ 73 w 140"/>
                <a:gd name="T43" fmla="*/ 79 h 85"/>
                <a:gd name="T44" fmla="*/ 134 w 140"/>
                <a:gd name="T45" fmla="*/ 71 h 85"/>
                <a:gd name="T46" fmla="*/ 132 w 140"/>
                <a:gd name="T47" fmla="*/ 67 h 85"/>
                <a:gd name="T48" fmla="*/ 124 w 140"/>
                <a:gd name="T49" fmla="*/ 65 h 85"/>
                <a:gd name="T50" fmla="*/ 120 w 140"/>
                <a:gd name="T51" fmla="*/ 65 h 85"/>
                <a:gd name="T52" fmla="*/ 120 w 140"/>
                <a:gd name="T53" fmla="*/ 54 h 85"/>
                <a:gd name="T54" fmla="*/ 82 w 140"/>
                <a:gd name="T55" fmla="*/ 9 h 85"/>
                <a:gd name="T56" fmla="*/ 57 w 140"/>
                <a:gd name="T57" fmla="*/ 9 h 85"/>
                <a:gd name="T58" fmla="*/ 20 w 140"/>
                <a:gd name="T59" fmla="*/ 54 h 85"/>
                <a:gd name="T60" fmla="*/ 20 w 140"/>
                <a:gd name="T61" fmla="*/ 66 h 85"/>
                <a:gd name="T62" fmla="*/ 16 w 140"/>
                <a:gd name="T63" fmla="*/ 65 h 85"/>
                <a:gd name="T64" fmla="*/ 8 w 140"/>
                <a:gd name="T65" fmla="*/ 68 h 85"/>
                <a:gd name="T66" fmla="*/ 6 w 140"/>
                <a:gd name="T67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0" h="85">
                  <a:moveTo>
                    <a:pt x="70" y="85"/>
                  </a:moveTo>
                  <a:cubicBezTo>
                    <a:pt x="69" y="85"/>
                    <a:pt x="68" y="85"/>
                    <a:pt x="67" y="85"/>
                  </a:cubicBezTo>
                  <a:cubicBezTo>
                    <a:pt x="11" y="85"/>
                    <a:pt x="2" y="78"/>
                    <a:pt x="0" y="74"/>
                  </a:cubicBezTo>
                  <a:cubicBezTo>
                    <a:pt x="0" y="74"/>
                    <a:pt x="0" y="73"/>
                    <a:pt x="0" y="72"/>
                  </a:cubicBezTo>
                  <a:cubicBezTo>
                    <a:pt x="0" y="69"/>
                    <a:pt x="1" y="66"/>
                    <a:pt x="3" y="63"/>
                  </a:cubicBezTo>
                  <a:cubicBezTo>
                    <a:pt x="5" y="61"/>
                    <a:pt x="9" y="59"/>
                    <a:pt x="13" y="59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24"/>
                    <a:pt x="34" y="6"/>
                    <a:pt x="55" y="2"/>
                  </a:cubicBezTo>
                  <a:cubicBezTo>
                    <a:pt x="61" y="1"/>
                    <a:pt x="73" y="0"/>
                    <a:pt x="83" y="2"/>
                  </a:cubicBezTo>
                  <a:cubicBezTo>
                    <a:pt x="104" y="7"/>
                    <a:pt x="126" y="23"/>
                    <a:pt x="127" y="54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31" y="59"/>
                    <a:pt x="134" y="60"/>
                    <a:pt x="137" y="62"/>
                  </a:cubicBezTo>
                  <a:cubicBezTo>
                    <a:pt x="139" y="65"/>
                    <a:pt x="140" y="68"/>
                    <a:pt x="140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40" y="72"/>
                    <a:pt x="140" y="73"/>
                    <a:pt x="140" y="74"/>
                  </a:cubicBezTo>
                  <a:cubicBezTo>
                    <a:pt x="138" y="77"/>
                    <a:pt x="129" y="84"/>
                    <a:pt x="74" y="85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2" y="85"/>
                    <a:pt x="71" y="85"/>
                    <a:pt x="70" y="85"/>
                  </a:cubicBezTo>
                  <a:close/>
                  <a:moveTo>
                    <a:pt x="6" y="72"/>
                  </a:moveTo>
                  <a:cubicBezTo>
                    <a:pt x="9" y="75"/>
                    <a:pt x="29" y="79"/>
                    <a:pt x="67" y="79"/>
                  </a:cubicBezTo>
                  <a:cubicBezTo>
                    <a:pt x="69" y="79"/>
                    <a:pt x="71" y="79"/>
                    <a:pt x="73" y="79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111" y="78"/>
                    <a:pt x="131" y="74"/>
                    <a:pt x="134" y="71"/>
                  </a:cubicBezTo>
                  <a:cubicBezTo>
                    <a:pt x="133" y="69"/>
                    <a:pt x="133" y="68"/>
                    <a:pt x="132" y="67"/>
                  </a:cubicBezTo>
                  <a:cubicBezTo>
                    <a:pt x="130" y="65"/>
                    <a:pt x="127" y="65"/>
                    <a:pt x="124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54"/>
                    <a:pt x="120" y="54"/>
                    <a:pt x="120" y="54"/>
                  </a:cubicBezTo>
                  <a:cubicBezTo>
                    <a:pt x="120" y="27"/>
                    <a:pt x="100" y="13"/>
                    <a:pt x="82" y="9"/>
                  </a:cubicBezTo>
                  <a:cubicBezTo>
                    <a:pt x="75" y="7"/>
                    <a:pt x="66" y="7"/>
                    <a:pt x="57" y="9"/>
                  </a:cubicBezTo>
                  <a:cubicBezTo>
                    <a:pt x="38" y="12"/>
                    <a:pt x="19" y="27"/>
                    <a:pt x="20" y="54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3" y="65"/>
                    <a:pt x="10" y="66"/>
                    <a:pt x="8" y="68"/>
                  </a:cubicBezTo>
                  <a:cubicBezTo>
                    <a:pt x="7" y="69"/>
                    <a:pt x="6" y="70"/>
                    <a:pt x="6" y="72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72" name="Freeform 20">
              <a:extLst>
                <a:ext uri="{FF2B5EF4-FFF2-40B4-BE49-F238E27FC236}">
                  <a16:creationId xmlns:a16="http://schemas.microsoft.com/office/drawing/2014/main" xmlns="" id="{078F9A7E-619D-4023-AAD8-337C367D9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300" y="3949701"/>
              <a:ext cx="23812" cy="98425"/>
            </a:xfrm>
            <a:custGeom>
              <a:avLst/>
              <a:gdLst>
                <a:gd name="T0" fmla="*/ 4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4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6" y="30"/>
                    <a:pt x="4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xmlns="" id="{64A0E0F6-BDF2-4EA8-98DC-A503872FD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949701"/>
              <a:ext cx="23812" cy="98425"/>
            </a:xfrm>
            <a:custGeom>
              <a:avLst/>
              <a:gdLst>
                <a:gd name="T0" fmla="*/ 3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3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3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5" y="30"/>
                    <a:pt x="3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xmlns="" id="{489912E7-4B96-48E1-A59F-8CB1973024CA}"/>
              </a:ext>
            </a:extLst>
          </p:cNvPr>
          <p:cNvGrpSpPr>
            <a:grpSpLocks noChangeAspect="1"/>
          </p:cNvGrpSpPr>
          <p:nvPr/>
        </p:nvGrpSpPr>
        <p:grpSpPr>
          <a:xfrm>
            <a:off x="9519039" y="4206310"/>
            <a:ext cx="532799" cy="590842"/>
            <a:chOff x="3048000" y="3943351"/>
            <a:chExt cx="808038" cy="893762"/>
          </a:xfrm>
        </p:grpSpPr>
        <p:sp>
          <p:nvSpPr>
            <p:cNvPr id="75" name="Freeform 14">
              <a:extLst>
                <a:ext uri="{FF2B5EF4-FFF2-40B4-BE49-F238E27FC236}">
                  <a16:creationId xmlns:a16="http://schemas.microsoft.com/office/drawing/2014/main" xmlns="" id="{84B2774D-8493-4AD1-A041-CCB75C4D4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013" y="4227513"/>
              <a:ext cx="342900" cy="260350"/>
            </a:xfrm>
            <a:custGeom>
              <a:avLst/>
              <a:gdLst>
                <a:gd name="T0" fmla="*/ 53 w 104"/>
                <a:gd name="T1" fmla="*/ 78 h 79"/>
                <a:gd name="T2" fmla="*/ 0 w 104"/>
                <a:gd name="T3" fmla="*/ 4 h 79"/>
                <a:gd name="T4" fmla="*/ 3 w 104"/>
                <a:gd name="T5" fmla="*/ 1 h 79"/>
                <a:gd name="T6" fmla="*/ 3 w 104"/>
                <a:gd name="T7" fmla="*/ 1 h 79"/>
                <a:gd name="T8" fmla="*/ 7 w 104"/>
                <a:gd name="T9" fmla="*/ 4 h 79"/>
                <a:gd name="T10" fmla="*/ 52 w 104"/>
                <a:gd name="T11" fmla="*/ 71 h 79"/>
                <a:gd name="T12" fmla="*/ 97 w 104"/>
                <a:gd name="T13" fmla="*/ 4 h 79"/>
                <a:gd name="T14" fmla="*/ 101 w 104"/>
                <a:gd name="T15" fmla="*/ 0 h 79"/>
                <a:gd name="T16" fmla="*/ 101 w 104"/>
                <a:gd name="T17" fmla="*/ 0 h 79"/>
                <a:gd name="T18" fmla="*/ 104 w 104"/>
                <a:gd name="T19" fmla="*/ 4 h 79"/>
                <a:gd name="T20" fmla="*/ 53 w 104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79">
                  <a:moveTo>
                    <a:pt x="53" y="78"/>
                  </a:moveTo>
                  <a:cubicBezTo>
                    <a:pt x="24" y="79"/>
                    <a:pt x="0" y="45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1"/>
                    <a:pt x="7" y="2"/>
                    <a:pt x="7" y="4"/>
                  </a:cubicBezTo>
                  <a:cubicBezTo>
                    <a:pt x="7" y="41"/>
                    <a:pt x="28" y="72"/>
                    <a:pt x="52" y="71"/>
                  </a:cubicBezTo>
                  <a:cubicBezTo>
                    <a:pt x="77" y="71"/>
                    <a:pt x="97" y="41"/>
                    <a:pt x="97" y="4"/>
                  </a:cubicBezTo>
                  <a:cubicBezTo>
                    <a:pt x="97" y="2"/>
                    <a:pt x="99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45"/>
                    <a:pt x="81" y="78"/>
                    <a:pt x="53" y="78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xmlns="" id="{35169122-3448-4241-B5F9-0EFA9E738B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0" y="4516438"/>
              <a:ext cx="168275" cy="320675"/>
            </a:xfrm>
            <a:custGeom>
              <a:avLst/>
              <a:gdLst>
                <a:gd name="T0" fmla="*/ 51 w 51"/>
                <a:gd name="T1" fmla="*/ 96 h 97"/>
                <a:gd name="T2" fmla="*/ 0 w 51"/>
                <a:gd name="T3" fmla="*/ 97 h 97"/>
                <a:gd name="T4" fmla="*/ 8 w 51"/>
                <a:gd name="T5" fmla="*/ 29 h 97"/>
                <a:gd name="T6" fmla="*/ 15 w 51"/>
                <a:gd name="T7" fmla="*/ 15 h 97"/>
                <a:gd name="T8" fmla="*/ 24 w 51"/>
                <a:gd name="T9" fmla="*/ 10 h 97"/>
                <a:gd name="T10" fmla="*/ 28 w 51"/>
                <a:gd name="T11" fmla="*/ 9 h 97"/>
                <a:gd name="T12" fmla="*/ 28 w 51"/>
                <a:gd name="T13" fmla="*/ 9 h 97"/>
                <a:gd name="T14" fmla="*/ 47 w 51"/>
                <a:gd name="T15" fmla="*/ 0 h 97"/>
                <a:gd name="T16" fmla="*/ 51 w 51"/>
                <a:gd name="T17" fmla="*/ 96 h 97"/>
                <a:gd name="T18" fmla="*/ 8 w 51"/>
                <a:gd name="T19" fmla="*/ 90 h 97"/>
                <a:gd name="T20" fmla="*/ 44 w 51"/>
                <a:gd name="T21" fmla="*/ 89 h 97"/>
                <a:gd name="T22" fmla="*/ 40 w 51"/>
                <a:gd name="T23" fmla="*/ 11 h 97"/>
                <a:gd name="T24" fmla="*/ 31 w 51"/>
                <a:gd name="T25" fmla="*/ 15 h 97"/>
                <a:gd name="T26" fmla="*/ 26 w 51"/>
                <a:gd name="T27" fmla="*/ 17 h 97"/>
                <a:gd name="T28" fmla="*/ 20 w 51"/>
                <a:gd name="T29" fmla="*/ 20 h 97"/>
                <a:gd name="T30" fmla="*/ 15 w 51"/>
                <a:gd name="T31" fmla="*/ 30 h 97"/>
                <a:gd name="T32" fmla="*/ 8 w 51"/>
                <a:gd name="T33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97">
                  <a:moveTo>
                    <a:pt x="51" y="96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4"/>
                    <a:pt x="11" y="19"/>
                    <a:pt x="15" y="15"/>
                  </a:cubicBezTo>
                  <a:cubicBezTo>
                    <a:pt x="17" y="12"/>
                    <a:pt x="21" y="11"/>
                    <a:pt x="24" y="10"/>
                  </a:cubicBezTo>
                  <a:cubicBezTo>
                    <a:pt x="25" y="10"/>
                    <a:pt x="27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51" y="96"/>
                  </a:lnTo>
                  <a:close/>
                  <a:moveTo>
                    <a:pt x="8" y="90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7" y="16"/>
                    <a:pt x="26" y="17"/>
                  </a:cubicBezTo>
                  <a:cubicBezTo>
                    <a:pt x="23" y="18"/>
                    <a:pt x="21" y="18"/>
                    <a:pt x="20" y="20"/>
                  </a:cubicBezTo>
                  <a:cubicBezTo>
                    <a:pt x="17" y="22"/>
                    <a:pt x="16" y="26"/>
                    <a:pt x="15" y="30"/>
                  </a:cubicBezTo>
                  <a:lnTo>
                    <a:pt x="8" y="90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xmlns="" id="{279F700C-6130-4FCC-A49B-A6FBFED991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4588" y="4513263"/>
              <a:ext cx="171450" cy="317500"/>
            </a:xfrm>
            <a:custGeom>
              <a:avLst/>
              <a:gdLst>
                <a:gd name="T0" fmla="*/ 52 w 52"/>
                <a:gd name="T1" fmla="*/ 96 h 96"/>
                <a:gd name="T2" fmla="*/ 0 w 52"/>
                <a:gd name="T3" fmla="*/ 96 h 96"/>
                <a:gd name="T4" fmla="*/ 2 w 52"/>
                <a:gd name="T5" fmla="*/ 0 h 96"/>
                <a:gd name="T6" fmla="*/ 22 w 52"/>
                <a:gd name="T7" fmla="*/ 8 h 96"/>
                <a:gd name="T8" fmla="*/ 42 w 52"/>
                <a:gd name="T9" fmla="*/ 29 h 96"/>
                <a:gd name="T10" fmla="*/ 52 w 52"/>
                <a:gd name="T11" fmla="*/ 96 h 96"/>
                <a:gd name="T12" fmla="*/ 7 w 52"/>
                <a:gd name="T13" fmla="*/ 89 h 96"/>
                <a:gd name="T14" fmla="*/ 44 w 52"/>
                <a:gd name="T15" fmla="*/ 89 h 96"/>
                <a:gd name="T16" fmla="*/ 35 w 52"/>
                <a:gd name="T17" fmla="*/ 30 h 96"/>
                <a:gd name="T18" fmla="*/ 20 w 52"/>
                <a:gd name="T19" fmla="*/ 15 h 96"/>
                <a:gd name="T20" fmla="*/ 9 w 52"/>
                <a:gd name="T21" fmla="*/ 11 h 96"/>
                <a:gd name="T22" fmla="*/ 7 w 52"/>
                <a:gd name="T2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96">
                  <a:moveTo>
                    <a:pt x="52" y="96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32" y="12"/>
                    <a:pt x="41" y="17"/>
                    <a:pt x="42" y="29"/>
                  </a:cubicBezTo>
                  <a:lnTo>
                    <a:pt x="52" y="96"/>
                  </a:lnTo>
                  <a:close/>
                  <a:moveTo>
                    <a:pt x="7" y="89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4" y="22"/>
                    <a:pt x="29" y="18"/>
                    <a:pt x="20" y="15"/>
                  </a:cubicBezTo>
                  <a:cubicBezTo>
                    <a:pt x="9" y="11"/>
                    <a:pt x="9" y="11"/>
                    <a:pt x="9" y="11"/>
                  </a:cubicBezTo>
                  <a:lnTo>
                    <a:pt x="7" y="89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xmlns="" id="{988478CB-EBFD-44B3-A935-E65F06E64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463" y="4464051"/>
              <a:ext cx="511175" cy="250825"/>
            </a:xfrm>
            <a:custGeom>
              <a:avLst/>
              <a:gdLst>
                <a:gd name="T0" fmla="*/ 125 w 155"/>
                <a:gd name="T1" fmla="*/ 76 h 76"/>
                <a:gd name="T2" fmla="*/ 31 w 155"/>
                <a:gd name="T3" fmla="*/ 76 h 76"/>
                <a:gd name="T4" fmla="*/ 27 w 155"/>
                <a:gd name="T5" fmla="*/ 11 h 76"/>
                <a:gd name="T6" fmla="*/ 6 w 155"/>
                <a:gd name="T7" fmla="*/ 22 h 76"/>
                <a:gd name="T8" fmla="*/ 1 w 155"/>
                <a:gd name="T9" fmla="*/ 21 h 76"/>
                <a:gd name="T10" fmla="*/ 3 w 155"/>
                <a:gd name="T11" fmla="*/ 16 h 76"/>
                <a:gd name="T12" fmla="*/ 33 w 155"/>
                <a:gd name="T13" fmla="*/ 0 h 76"/>
                <a:gd name="T14" fmla="*/ 37 w 155"/>
                <a:gd name="T15" fmla="*/ 69 h 76"/>
                <a:gd name="T16" fmla="*/ 119 w 155"/>
                <a:gd name="T17" fmla="*/ 69 h 76"/>
                <a:gd name="T18" fmla="*/ 122 w 155"/>
                <a:gd name="T19" fmla="*/ 0 h 76"/>
                <a:gd name="T20" fmla="*/ 152 w 155"/>
                <a:gd name="T21" fmla="*/ 15 h 76"/>
                <a:gd name="T22" fmla="*/ 154 w 155"/>
                <a:gd name="T23" fmla="*/ 20 h 76"/>
                <a:gd name="T24" fmla="*/ 149 w 155"/>
                <a:gd name="T25" fmla="*/ 21 h 76"/>
                <a:gd name="T26" fmla="*/ 129 w 155"/>
                <a:gd name="T27" fmla="*/ 11 h 76"/>
                <a:gd name="T28" fmla="*/ 125 w 155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5" h="76">
                  <a:moveTo>
                    <a:pt x="125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4" y="23"/>
                    <a:pt x="2" y="23"/>
                    <a:pt x="1" y="21"/>
                  </a:cubicBezTo>
                  <a:cubicBezTo>
                    <a:pt x="0" y="19"/>
                    <a:pt x="1" y="17"/>
                    <a:pt x="3" y="16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4" y="16"/>
                    <a:pt x="155" y="18"/>
                    <a:pt x="154" y="20"/>
                  </a:cubicBezTo>
                  <a:cubicBezTo>
                    <a:pt x="153" y="22"/>
                    <a:pt x="151" y="22"/>
                    <a:pt x="149" y="21"/>
                  </a:cubicBezTo>
                  <a:cubicBezTo>
                    <a:pt x="129" y="11"/>
                    <a:pt x="129" y="11"/>
                    <a:pt x="129" y="11"/>
                  </a:cubicBezTo>
                  <a:lnTo>
                    <a:pt x="125" y="76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79" name="Freeform 18">
              <a:extLst>
                <a:ext uri="{FF2B5EF4-FFF2-40B4-BE49-F238E27FC236}">
                  <a16:creationId xmlns:a16="http://schemas.microsoft.com/office/drawing/2014/main" xmlns="" id="{612AA14E-8DA6-4D56-A5F1-674EB1422F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813" y="4806951"/>
              <a:ext cx="501650" cy="26988"/>
            </a:xfrm>
            <a:custGeom>
              <a:avLst/>
              <a:gdLst>
                <a:gd name="T0" fmla="*/ 149 w 152"/>
                <a:gd name="T1" fmla="*/ 7 h 8"/>
                <a:gd name="T2" fmla="*/ 4 w 152"/>
                <a:gd name="T3" fmla="*/ 8 h 8"/>
                <a:gd name="T4" fmla="*/ 0 w 152"/>
                <a:gd name="T5" fmla="*/ 5 h 8"/>
                <a:gd name="T6" fmla="*/ 4 w 152"/>
                <a:gd name="T7" fmla="*/ 1 h 8"/>
                <a:gd name="T8" fmla="*/ 149 w 152"/>
                <a:gd name="T9" fmla="*/ 0 h 8"/>
                <a:gd name="T10" fmla="*/ 152 w 152"/>
                <a:gd name="T11" fmla="*/ 4 h 8"/>
                <a:gd name="T12" fmla="*/ 149 w 152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8">
                  <a:moveTo>
                    <a:pt x="149" y="7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2" y="2"/>
                    <a:pt x="152" y="4"/>
                  </a:cubicBezTo>
                  <a:cubicBezTo>
                    <a:pt x="152" y="6"/>
                    <a:pt x="151" y="7"/>
                    <a:pt x="149" y="7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80" name="Freeform 19">
              <a:extLst>
                <a:ext uri="{FF2B5EF4-FFF2-40B4-BE49-F238E27FC236}">
                  <a16:creationId xmlns:a16="http://schemas.microsoft.com/office/drawing/2014/main" xmlns="" id="{0FA79D8B-7D5E-4FB9-B190-E1B71AE353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6275" y="3943351"/>
              <a:ext cx="461962" cy="280988"/>
            </a:xfrm>
            <a:custGeom>
              <a:avLst/>
              <a:gdLst>
                <a:gd name="T0" fmla="*/ 70 w 140"/>
                <a:gd name="T1" fmla="*/ 85 h 85"/>
                <a:gd name="T2" fmla="*/ 67 w 140"/>
                <a:gd name="T3" fmla="*/ 85 h 85"/>
                <a:gd name="T4" fmla="*/ 0 w 140"/>
                <a:gd name="T5" fmla="*/ 74 h 85"/>
                <a:gd name="T6" fmla="*/ 0 w 140"/>
                <a:gd name="T7" fmla="*/ 72 h 85"/>
                <a:gd name="T8" fmla="*/ 3 w 140"/>
                <a:gd name="T9" fmla="*/ 63 h 85"/>
                <a:gd name="T10" fmla="*/ 13 w 140"/>
                <a:gd name="T11" fmla="*/ 59 h 85"/>
                <a:gd name="T12" fmla="*/ 13 w 140"/>
                <a:gd name="T13" fmla="*/ 54 h 85"/>
                <a:gd name="T14" fmla="*/ 55 w 140"/>
                <a:gd name="T15" fmla="*/ 2 h 85"/>
                <a:gd name="T16" fmla="*/ 83 w 140"/>
                <a:gd name="T17" fmla="*/ 2 h 85"/>
                <a:gd name="T18" fmla="*/ 127 w 140"/>
                <a:gd name="T19" fmla="*/ 54 h 85"/>
                <a:gd name="T20" fmla="*/ 127 w 140"/>
                <a:gd name="T21" fmla="*/ 58 h 85"/>
                <a:gd name="T22" fmla="*/ 137 w 140"/>
                <a:gd name="T23" fmla="*/ 62 h 85"/>
                <a:gd name="T24" fmla="*/ 140 w 140"/>
                <a:gd name="T25" fmla="*/ 71 h 85"/>
                <a:gd name="T26" fmla="*/ 140 w 140"/>
                <a:gd name="T27" fmla="*/ 71 h 85"/>
                <a:gd name="T28" fmla="*/ 140 w 140"/>
                <a:gd name="T29" fmla="*/ 74 h 85"/>
                <a:gd name="T30" fmla="*/ 74 w 140"/>
                <a:gd name="T31" fmla="*/ 85 h 85"/>
                <a:gd name="T32" fmla="*/ 73 w 140"/>
                <a:gd name="T33" fmla="*/ 85 h 85"/>
                <a:gd name="T34" fmla="*/ 70 w 140"/>
                <a:gd name="T35" fmla="*/ 85 h 85"/>
                <a:gd name="T36" fmla="*/ 6 w 140"/>
                <a:gd name="T37" fmla="*/ 72 h 85"/>
                <a:gd name="T38" fmla="*/ 67 w 140"/>
                <a:gd name="T39" fmla="*/ 79 h 85"/>
                <a:gd name="T40" fmla="*/ 73 w 140"/>
                <a:gd name="T41" fmla="*/ 79 h 85"/>
                <a:gd name="T42" fmla="*/ 73 w 140"/>
                <a:gd name="T43" fmla="*/ 79 h 85"/>
                <a:gd name="T44" fmla="*/ 134 w 140"/>
                <a:gd name="T45" fmla="*/ 71 h 85"/>
                <a:gd name="T46" fmla="*/ 132 w 140"/>
                <a:gd name="T47" fmla="*/ 67 h 85"/>
                <a:gd name="T48" fmla="*/ 124 w 140"/>
                <a:gd name="T49" fmla="*/ 65 h 85"/>
                <a:gd name="T50" fmla="*/ 120 w 140"/>
                <a:gd name="T51" fmla="*/ 65 h 85"/>
                <a:gd name="T52" fmla="*/ 120 w 140"/>
                <a:gd name="T53" fmla="*/ 54 h 85"/>
                <a:gd name="T54" fmla="*/ 82 w 140"/>
                <a:gd name="T55" fmla="*/ 9 h 85"/>
                <a:gd name="T56" fmla="*/ 57 w 140"/>
                <a:gd name="T57" fmla="*/ 9 h 85"/>
                <a:gd name="T58" fmla="*/ 20 w 140"/>
                <a:gd name="T59" fmla="*/ 54 h 85"/>
                <a:gd name="T60" fmla="*/ 20 w 140"/>
                <a:gd name="T61" fmla="*/ 66 h 85"/>
                <a:gd name="T62" fmla="*/ 16 w 140"/>
                <a:gd name="T63" fmla="*/ 65 h 85"/>
                <a:gd name="T64" fmla="*/ 8 w 140"/>
                <a:gd name="T65" fmla="*/ 68 h 85"/>
                <a:gd name="T66" fmla="*/ 6 w 140"/>
                <a:gd name="T67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0" h="85">
                  <a:moveTo>
                    <a:pt x="70" y="85"/>
                  </a:moveTo>
                  <a:cubicBezTo>
                    <a:pt x="69" y="85"/>
                    <a:pt x="68" y="85"/>
                    <a:pt x="67" y="85"/>
                  </a:cubicBezTo>
                  <a:cubicBezTo>
                    <a:pt x="11" y="85"/>
                    <a:pt x="2" y="78"/>
                    <a:pt x="0" y="74"/>
                  </a:cubicBezTo>
                  <a:cubicBezTo>
                    <a:pt x="0" y="74"/>
                    <a:pt x="0" y="73"/>
                    <a:pt x="0" y="72"/>
                  </a:cubicBezTo>
                  <a:cubicBezTo>
                    <a:pt x="0" y="69"/>
                    <a:pt x="1" y="66"/>
                    <a:pt x="3" y="63"/>
                  </a:cubicBezTo>
                  <a:cubicBezTo>
                    <a:pt x="5" y="61"/>
                    <a:pt x="9" y="59"/>
                    <a:pt x="13" y="59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24"/>
                    <a:pt x="34" y="6"/>
                    <a:pt x="55" y="2"/>
                  </a:cubicBezTo>
                  <a:cubicBezTo>
                    <a:pt x="61" y="1"/>
                    <a:pt x="73" y="0"/>
                    <a:pt x="83" y="2"/>
                  </a:cubicBezTo>
                  <a:cubicBezTo>
                    <a:pt x="104" y="7"/>
                    <a:pt x="126" y="23"/>
                    <a:pt x="127" y="54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31" y="59"/>
                    <a:pt x="134" y="60"/>
                    <a:pt x="137" y="62"/>
                  </a:cubicBezTo>
                  <a:cubicBezTo>
                    <a:pt x="139" y="65"/>
                    <a:pt x="140" y="68"/>
                    <a:pt x="140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40" y="72"/>
                    <a:pt x="140" y="73"/>
                    <a:pt x="140" y="74"/>
                  </a:cubicBezTo>
                  <a:cubicBezTo>
                    <a:pt x="138" y="77"/>
                    <a:pt x="129" y="84"/>
                    <a:pt x="74" y="85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2" y="85"/>
                    <a:pt x="71" y="85"/>
                    <a:pt x="70" y="85"/>
                  </a:cubicBezTo>
                  <a:close/>
                  <a:moveTo>
                    <a:pt x="6" y="72"/>
                  </a:moveTo>
                  <a:cubicBezTo>
                    <a:pt x="9" y="75"/>
                    <a:pt x="29" y="79"/>
                    <a:pt x="67" y="79"/>
                  </a:cubicBezTo>
                  <a:cubicBezTo>
                    <a:pt x="69" y="79"/>
                    <a:pt x="71" y="79"/>
                    <a:pt x="73" y="79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111" y="78"/>
                    <a:pt x="131" y="74"/>
                    <a:pt x="134" y="71"/>
                  </a:cubicBezTo>
                  <a:cubicBezTo>
                    <a:pt x="133" y="69"/>
                    <a:pt x="133" y="68"/>
                    <a:pt x="132" y="67"/>
                  </a:cubicBezTo>
                  <a:cubicBezTo>
                    <a:pt x="130" y="65"/>
                    <a:pt x="127" y="65"/>
                    <a:pt x="124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54"/>
                    <a:pt x="120" y="54"/>
                    <a:pt x="120" y="54"/>
                  </a:cubicBezTo>
                  <a:cubicBezTo>
                    <a:pt x="120" y="27"/>
                    <a:pt x="100" y="13"/>
                    <a:pt x="82" y="9"/>
                  </a:cubicBezTo>
                  <a:cubicBezTo>
                    <a:pt x="75" y="7"/>
                    <a:pt x="66" y="7"/>
                    <a:pt x="57" y="9"/>
                  </a:cubicBezTo>
                  <a:cubicBezTo>
                    <a:pt x="38" y="12"/>
                    <a:pt x="19" y="27"/>
                    <a:pt x="20" y="54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3" y="65"/>
                    <a:pt x="10" y="66"/>
                    <a:pt x="8" y="68"/>
                  </a:cubicBezTo>
                  <a:cubicBezTo>
                    <a:pt x="7" y="69"/>
                    <a:pt x="6" y="70"/>
                    <a:pt x="6" y="72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81" name="Freeform 20">
              <a:extLst>
                <a:ext uri="{FF2B5EF4-FFF2-40B4-BE49-F238E27FC236}">
                  <a16:creationId xmlns:a16="http://schemas.microsoft.com/office/drawing/2014/main" xmlns="" id="{DF13E7F3-E415-412C-9361-9272C894E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300" y="3949701"/>
              <a:ext cx="23812" cy="98425"/>
            </a:xfrm>
            <a:custGeom>
              <a:avLst/>
              <a:gdLst>
                <a:gd name="T0" fmla="*/ 4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4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6" y="30"/>
                    <a:pt x="4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82" name="Freeform 21">
              <a:extLst>
                <a:ext uri="{FF2B5EF4-FFF2-40B4-BE49-F238E27FC236}">
                  <a16:creationId xmlns:a16="http://schemas.microsoft.com/office/drawing/2014/main" xmlns="" id="{CA93E02D-FCC4-4403-BB19-3A03A3601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949701"/>
              <a:ext cx="23812" cy="98425"/>
            </a:xfrm>
            <a:custGeom>
              <a:avLst/>
              <a:gdLst>
                <a:gd name="T0" fmla="*/ 3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3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3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5" y="30"/>
                    <a:pt x="3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271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CB917FE6-0D5D-4A51-B941-AFD8D611BF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Nutzungs-Szenarien Attensam &amp; Co </a:t>
            </a:r>
            <a:r>
              <a:rPr lang="de-DE" sz="1100" dirty="0"/>
              <a:t>[Facility Management]</a:t>
            </a:r>
            <a:endParaRPr lang="de-DE" dirty="0"/>
          </a:p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E6A3310B-3294-4197-B760-23692415D8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750F30BF-5F5F-46BC-B8C0-2629646E300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>
              <a:spcAft>
                <a:spcPts val="600"/>
              </a:spcAft>
            </a:pPr>
            <a:r>
              <a:rPr lang="de-DE" sz="1500" dirty="0">
                <a:solidFill>
                  <a:schemeClr val="accent2"/>
                </a:solidFill>
                <a:latin typeface="+mj-lt"/>
              </a:rPr>
              <a:t>Aufgabenverarbeitung</a:t>
            </a:r>
          </a:p>
          <a:p>
            <a:pPr lvl="3">
              <a:spcAft>
                <a:spcPts val="600"/>
              </a:spcAft>
            </a:pPr>
            <a:r>
              <a:rPr lang="de-DE" sz="1400" dirty="0">
                <a:solidFill>
                  <a:schemeClr val="accent2"/>
                </a:solidFill>
                <a:latin typeface="+mj-lt"/>
              </a:rPr>
              <a:t>Bspw. Aufhängen Aushang, Verteilung von Briefen, Kontrolle Objekt</a:t>
            </a:r>
          </a:p>
          <a:p>
            <a:pPr lvl="2">
              <a:spcAft>
                <a:spcPts val="1200"/>
              </a:spcAft>
            </a:pPr>
            <a:r>
              <a:rPr lang="de-DE" sz="1500" dirty="0">
                <a:solidFill>
                  <a:schemeClr val="accent2"/>
                </a:solidFill>
                <a:latin typeface="+mj-lt"/>
              </a:rPr>
              <a:t>Kommunikation mit Verwalter zu einzelnen Aufgaben/Aufträgen</a:t>
            </a:r>
          </a:p>
          <a:p>
            <a:pPr lvl="2">
              <a:spcAft>
                <a:spcPts val="1200"/>
              </a:spcAft>
            </a:pPr>
            <a:r>
              <a:rPr lang="de-DE" sz="1500" dirty="0">
                <a:solidFill>
                  <a:schemeClr val="accent2"/>
                </a:solidFill>
                <a:latin typeface="+mj-lt"/>
              </a:rPr>
              <a:t>Zuweisen zu Mitarbeitern und Rückmeldung von Erledigungs-Zeitpunkten</a:t>
            </a:r>
          </a:p>
          <a:p>
            <a:pPr lvl="2">
              <a:spcAft>
                <a:spcPts val="600"/>
              </a:spcAft>
            </a:pPr>
            <a:r>
              <a:rPr lang="de-DE" sz="1500" dirty="0">
                <a:solidFill>
                  <a:schemeClr val="accent2"/>
                </a:solidFill>
                <a:latin typeface="+mj-lt"/>
              </a:rPr>
              <a:t>Wartungsausführung vor Ort</a:t>
            </a:r>
          </a:p>
          <a:p>
            <a:pPr lvl="3">
              <a:spcAft>
                <a:spcPts val="600"/>
              </a:spcAft>
            </a:pPr>
            <a:r>
              <a:rPr lang="de-DE" sz="1400" dirty="0">
                <a:solidFill>
                  <a:schemeClr val="accent2"/>
                </a:solidFill>
                <a:latin typeface="+mj-lt"/>
              </a:rPr>
              <a:t>Heizung monatliche Kontrolle, Feuerlöscher, Winterservice, Gebäudereinigung, Außenwasserhähne, Ölverbrauch, zentrale Heizungen, Biomasse, wöchentliche Liftkontrolle, Brandschutz etc.</a:t>
            </a:r>
          </a:p>
          <a:p>
            <a:pPr lvl="3">
              <a:spcAft>
                <a:spcPts val="600"/>
              </a:spcAft>
            </a:pPr>
            <a:r>
              <a:rPr lang="de-DE" sz="1400" dirty="0">
                <a:solidFill>
                  <a:schemeClr val="accent2"/>
                </a:solidFill>
                <a:latin typeface="+mj-lt"/>
              </a:rPr>
              <a:t>Objektsicherheitsprüfung (B1300 in Österreich)</a:t>
            </a:r>
          </a:p>
          <a:p>
            <a:pPr lvl="2">
              <a:spcAft>
                <a:spcPts val="1200"/>
              </a:spcAft>
            </a:pPr>
            <a:r>
              <a:rPr lang="de-DE" sz="1500" dirty="0">
                <a:solidFill>
                  <a:schemeClr val="accent2"/>
                </a:solidFill>
                <a:latin typeface="+mj-lt"/>
              </a:rPr>
              <a:t>Aufnahme von Mängeln / Meldungen</a:t>
            </a:r>
          </a:p>
          <a:p>
            <a:pPr lvl="2">
              <a:spcAft>
                <a:spcPts val="1200"/>
              </a:spcAft>
            </a:pPr>
            <a:r>
              <a:rPr lang="de-DE" sz="1500" dirty="0">
                <a:solidFill>
                  <a:schemeClr val="accent2"/>
                </a:solidFill>
                <a:latin typeface="+mj-lt"/>
              </a:rPr>
              <a:t>Einstellen von Mitteilungen &amp; Terminen</a:t>
            </a:r>
          </a:p>
          <a:p>
            <a:pPr lvl="2">
              <a:spcAft>
                <a:spcPts val="1200"/>
              </a:spcAft>
            </a:pPr>
            <a:r>
              <a:rPr lang="de-DE" sz="1500" dirty="0">
                <a:solidFill>
                  <a:schemeClr val="accent2"/>
                </a:solidFill>
                <a:latin typeface="+mj-lt"/>
              </a:rPr>
              <a:t>Integration in FM Software</a:t>
            </a:r>
          </a:p>
          <a:p>
            <a:pPr lvl="2">
              <a:spcAft>
                <a:spcPts val="1200"/>
              </a:spcAft>
            </a:pPr>
            <a:r>
              <a:rPr lang="de-DE" sz="1500" dirty="0">
                <a:solidFill>
                  <a:schemeClr val="accent2"/>
                </a:solidFill>
                <a:latin typeface="+mj-lt"/>
              </a:rPr>
              <a:t>Angebot FM Services (Marktplatz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7B13D7B1-495A-49B2-854D-087108473CE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0C752E-B293-43B0-973D-6D64A1C1F52F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A08842D1-D534-4ACC-B5CF-02201CA844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8" name="Picture 4" descr="Bildergebnis fÃ¼r attensam">
            <a:extLst>
              <a:ext uri="{FF2B5EF4-FFF2-40B4-BE49-F238E27FC236}">
                <a16:creationId xmlns:a16="http://schemas.microsoft.com/office/drawing/2014/main" xmlns="" id="{79E04EBB-1FD2-4CD5-B0B3-54A03B417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8203" y="639738"/>
            <a:ext cx="1656184" cy="6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142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xmlns="" id="{63E7727C-5591-4FA2-B673-195896F2FF4B}"/>
              </a:ext>
            </a:extLst>
          </p:cNvPr>
          <p:cNvCxnSpPr>
            <a:cxnSpLocks/>
          </p:cNvCxnSpPr>
          <p:nvPr/>
        </p:nvCxnSpPr>
        <p:spPr>
          <a:xfrm flipV="1">
            <a:off x="2999656" y="3764270"/>
            <a:ext cx="1044116" cy="1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0DC4E2D6-163C-4BCA-B13E-D317FADDE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5431A7A2-7DA0-4F42-827B-F2CDAAA51E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nbindungsmöglichk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7A297DFA-F8CB-438B-AB32-AC248D98A0F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190C25BB-2E14-402C-8D70-6DB0B102E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xmlns="" id="{AF957713-6647-4B6A-A277-9E0D30C3CEEB}"/>
              </a:ext>
            </a:extLst>
          </p:cNvPr>
          <p:cNvSpPr/>
          <p:nvPr/>
        </p:nvSpPr>
        <p:spPr>
          <a:xfrm>
            <a:off x="1074379" y="1856038"/>
            <a:ext cx="2016224" cy="381646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accent2"/>
                </a:solidFill>
              </a:rPr>
              <a:t>ERP/CRM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xmlns="" id="{43EF5E5D-10D2-4940-A738-9240AF380717}"/>
              </a:ext>
            </a:extLst>
          </p:cNvPr>
          <p:cNvSpPr/>
          <p:nvPr/>
        </p:nvSpPr>
        <p:spPr>
          <a:xfrm>
            <a:off x="9101396" y="1853344"/>
            <a:ext cx="2016224" cy="381646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accent2"/>
                </a:solidFill>
              </a:rPr>
              <a:t>casavi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xmlns="" id="{3B0C3326-9DF9-40B9-ADB1-EA094A14A873}"/>
              </a:ext>
            </a:extLst>
          </p:cNvPr>
          <p:cNvCxnSpPr>
            <a:cxnSpLocks/>
          </p:cNvCxnSpPr>
          <p:nvPr/>
        </p:nvCxnSpPr>
        <p:spPr>
          <a:xfrm>
            <a:off x="7572164" y="3717032"/>
            <a:ext cx="1529232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xmlns="" id="{8D834B54-0632-4A5D-9F13-3D63522168E0}"/>
              </a:ext>
            </a:extLst>
          </p:cNvPr>
          <p:cNvCxnSpPr>
            <a:cxnSpLocks/>
          </p:cNvCxnSpPr>
          <p:nvPr/>
        </p:nvCxnSpPr>
        <p:spPr>
          <a:xfrm>
            <a:off x="3090603" y="2384884"/>
            <a:ext cx="953169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xmlns="" id="{E06A7493-FA58-4988-8797-8BBB058FE6A1}"/>
              </a:ext>
            </a:extLst>
          </p:cNvPr>
          <p:cNvCxnSpPr>
            <a:cxnSpLocks/>
          </p:cNvCxnSpPr>
          <p:nvPr/>
        </p:nvCxnSpPr>
        <p:spPr>
          <a:xfrm flipH="1">
            <a:off x="3090603" y="5121188"/>
            <a:ext cx="953169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xmlns="" id="{CD836681-8E63-4514-A400-788090DD813E}"/>
              </a:ext>
            </a:extLst>
          </p:cNvPr>
          <p:cNvCxnSpPr>
            <a:cxnSpLocks/>
          </p:cNvCxnSpPr>
          <p:nvPr/>
        </p:nvCxnSpPr>
        <p:spPr>
          <a:xfrm>
            <a:off x="7572164" y="5121188"/>
            <a:ext cx="1529232" cy="0"/>
          </a:xfrm>
          <a:prstGeom prst="straightConnector1">
            <a:avLst/>
          </a:prstGeom>
          <a:ln>
            <a:headEnd type="none" w="med" len="med"/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xmlns="" id="{A787FD7E-FCBD-48E1-B5AD-5F51D2F0BC1C}"/>
              </a:ext>
            </a:extLst>
          </p:cNvPr>
          <p:cNvCxnSpPr>
            <a:cxnSpLocks/>
          </p:cNvCxnSpPr>
          <p:nvPr/>
        </p:nvCxnSpPr>
        <p:spPr>
          <a:xfrm>
            <a:off x="7572164" y="2384884"/>
            <a:ext cx="1529232" cy="0"/>
          </a:xfrm>
          <a:prstGeom prst="straightConnector1">
            <a:avLst/>
          </a:prstGeom>
          <a:ln>
            <a:solidFill>
              <a:schemeClr val="accent1"/>
            </a:solidFill>
            <a:headEnd type="none" w="med" len="med"/>
            <a:tailEnd type="arrow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xmlns="" id="{B39C6299-3B24-493B-AEB6-3565AB36F895}"/>
              </a:ext>
            </a:extLst>
          </p:cNvPr>
          <p:cNvSpPr/>
          <p:nvPr/>
        </p:nvSpPr>
        <p:spPr>
          <a:xfrm>
            <a:off x="3755740" y="1826749"/>
            <a:ext cx="4680000" cy="108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Stammdaten</a:t>
            </a:r>
          </a:p>
          <a:p>
            <a:pPr marL="216000" lvl="2" indent="-216000">
              <a:spcBef>
                <a:spcPts val="300"/>
              </a:spcBef>
              <a:spcAft>
                <a:spcPts val="300"/>
              </a:spcAft>
              <a:buClr>
                <a:srgbClr val="FD3156"/>
              </a:buClr>
              <a:buSzPct val="100000"/>
              <a:buBlip>
                <a:blip r:embed="rId3"/>
              </a:buBlip>
            </a:pPr>
            <a:r>
              <a:rPr lang="de-DE" sz="1400" dirty="0">
                <a:solidFill>
                  <a:schemeClr val="bg1"/>
                </a:solidFill>
              </a:rPr>
              <a:t>Objekte Einheiten</a:t>
            </a:r>
          </a:p>
          <a:p>
            <a:pPr marL="216000" lvl="2" indent="-216000">
              <a:spcBef>
                <a:spcPts val="300"/>
              </a:spcBef>
              <a:spcAft>
                <a:spcPts val="300"/>
              </a:spcAft>
              <a:buClr>
                <a:srgbClr val="FD3156"/>
              </a:buClr>
              <a:buSzPct val="100000"/>
              <a:buBlip>
                <a:blip r:embed="rId3"/>
              </a:buBlip>
            </a:pPr>
            <a:r>
              <a:rPr lang="de-DE" sz="1400" dirty="0">
                <a:solidFill>
                  <a:schemeClr val="bg1"/>
                </a:solidFill>
              </a:rPr>
              <a:t>Kontakte, Mitarbeiter, Dienstleister</a:t>
            </a:r>
            <a:endParaRPr lang="de-DE" sz="1300" dirty="0">
              <a:solidFill>
                <a:schemeClr val="bg1"/>
              </a:solidFill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xmlns="" id="{0DBC02D8-CC04-4ECE-B000-C1B1E33E2AE3}"/>
              </a:ext>
            </a:extLst>
          </p:cNvPr>
          <p:cNvSpPr/>
          <p:nvPr/>
        </p:nvSpPr>
        <p:spPr>
          <a:xfrm>
            <a:off x="3755740" y="3211085"/>
            <a:ext cx="4680000" cy="108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Dokumente</a:t>
            </a:r>
          </a:p>
          <a:p>
            <a:pPr marL="216000" lvl="2" indent="-216000">
              <a:spcBef>
                <a:spcPts val="300"/>
              </a:spcBef>
              <a:spcAft>
                <a:spcPts val="300"/>
              </a:spcAft>
              <a:buClr>
                <a:srgbClr val="FD3156"/>
              </a:buClr>
              <a:buSzPct val="100000"/>
              <a:buBlip>
                <a:blip r:embed="rId3"/>
              </a:buBlip>
            </a:pPr>
            <a:r>
              <a:rPr lang="de-DE" sz="1400" dirty="0">
                <a:solidFill>
                  <a:schemeClr val="bg1"/>
                </a:solidFill>
              </a:rPr>
              <a:t>Allgemeine- und Hausdokumente</a:t>
            </a:r>
          </a:p>
          <a:p>
            <a:pPr marL="216000" lvl="2" indent="-216000">
              <a:spcBef>
                <a:spcPts val="300"/>
              </a:spcBef>
              <a:spcAft>
                <a:spcPts val="300"/>
              </a:spcAft>
              <a:buClr>
                <a:srgbClr val="FD3156"/>
              </a:buClr>
              <a:buSzPct val="100000"/>
              <a:buBlip>
                <a:blip r:embed="rId3"/>
              </a:buBlip>
            </a:pPr>
            <a:r>
              <a:rPr lang="de-DE" sz="1400" dirty="0">
                <a:solidFill>
                  <a:schemeClr val="bg1"/>
                </a:solidFill>
              </a:rPr>
              <a:t>Personalisierte Dokumente und Serienbriefe</a:t>
            </a: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xmlns="" id="{1585D876-6F32-4DC0-83F8-764071D9E37C}"/>
              </a:ext>
            </a:extLst>
          </p:cNvPr>
          <p:cNvSpPr/>
          <p:nvPr/>
        </p:nvSpPr>
        <p:spPr>
          <a:xfrm>
            <a:off x="3755740" y="4589807"/>
            <a:ext cx="4680000" cy="108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Vorgänge</a:t>
            </a:r>
          </a:p>
          <a:p>
            <a:pPr marL="216000" lvl="2" indent="-216000">
              <a:spcBef>
                <a:spcPts val="300"/>
              </a:spcBef>
              <a:spcAft>
                <a:spcPts val="300"/>
              </a:spcAft>
              <a:buClr>
                <a:srgbClr val="FD3156"/>
              </a:buClr>
              <a:buSzPct val="100000"/>
              <a:buBlip>
                <a:blip r:embed="rId3"/>
              </a:buBlip>
            </a:pPr>
            <a:r>
              <a:rPr lang="de-DE" sz="1400" dirty="0">
                <a:solidFill>
                  <a:schemeClr val="bg1"/>
                </a:solidFill>
              </a:rPr>
              <a:t>Eingehende Service-Meldungen</a:t>
            </a:r>
          </a:p>
          <a:p>
            <a:pPr marL="216000" lvl="2" indent="-216000">
              <a:spcBef>
                <a:spcPts val="300"/>
              </a:spcBef>
              <a:spcAft>
                <a:spcPts val="300"/>
              </a:spcAft>
              <a:buClr>
                <a:srgbClr val="FD3156"/>
              </a:buClr>
              <a:buSzPct val="100000"/>
              <a:buBlip>
                <a:blip r:embed="rId3"/>
              </a:buBlip>
            </a:pPr>
            <a:r>
              <a:rPr lang="de-DE" sz="1400" dirty="0">
                <a:solidFill>
                  <a:schemeClr val="bg1"/>
                </a:solidFill>
              </a:rPr>
              <a:t>Rückmeldung, Service-Updates</a:t>
            </a:r>
          </a:p>
        </p:txBody>
      </p:sp>
    </p:spTree>
    <p:extLst>
      <p:ext uri="{BB962C8B-B14F-4D97-AF65-F5344CB8AC3E}">
        <p14:creationId xmlns:p14="http://schemas.microsoft.com/office/powerpoint/2010/main" val="348925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drinnen, sitzend enthält.&#10;&#10;Automatisch generierte Beschreibung">
            <a:extLst>
              <a:ext uri="{FF2B5EF4-FFF2-40B4-BE49-F238E27FC236}">
                <a16:creationId xmlns:a16="http://schemas.microsoft.com/office/drawing/2014/main" xmlns="" id="{0D08BDEB-0BFF-4464-8617-303449FB3D9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l="10762" r="13644"/>
          <a:stretch/>
        </p:blipFill>
        <p:spPr>
          <a:xfrm>
            <a:off x="4872682" y="0"/>
            <a:ext cx="7339515" cy="6455212"/>
          </a:xfr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1A7EB1EC-E362-4FC3-91CD-7042E913C3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628800"/>
            <a:ext cx="4537075" cy="4176000"/>
          </a:xfrm>
        </p:spPr>
        <p:txBody>
          <a:bodyPr/>
          <a:lstStyle/>
          <a:p>
            <a:pPr marL="0" indent="0">
              <a:buNone/>
            </a:pPr>
            <a:r>
              <a:rPr lang="de-DE" sz="2000" b="0" dirty="0">
                <a:latin typeface="+mn-lt"/>
              </a:rPr>
              <a:t>Christine Vonhof</a:t>
            </a:r>
            <a:br>
              <a:rPr lang="de-DE" sz="2000" b="0" dirty="0">
                <a:latin typeface="+mn-lt"/>
              </a:rPr>
            </a:br>
            <a:r>
              <a:rPr lang="de-DE" sz="1600" b="0" dirty="0" err="1">
                <a:latin typeface="+mn-lt"/>
              </a:rPr>
              <a:t>Director</a:t>
            </a:r>
            <a:r>
              <a:rPr lang="de-DE" sz="1600" b="0" dirty="0">
                <a:latin typeface="+mn-lt"/>
              </a:rPr>
              <a:t> Client Services</a:t>
            </a:r>
            <a:endParaRPr lang="de-DE" sz="2000" b="0" dirty="0">
              <a:latin typeface="+mn-lt"/>
            </a:endParaRPr>
          </a:p>
          <a:p>
            <a:pPr marL="0" indent="0">
              <a:buNone/>
            </a:pPr>
            <a:r>
              <a:rPr lang="de-DE" sz="2000" b="0" dirty="0">
                <a:latin typeface="+mn-lt"/>
              </a:rPr>
              <a:t>+49 (0)89 2154 5359 18</a:t>
            </a:r>
            <a:br>
              <a:rPr lang="de-DE" sz="2000" b="0" dirty="0">
                <a:latin typeface="+mn-lt"/>
              </a:rPr>
            </a:br>
            <a:r>
              <a:rPr lang="de-DE" sz="2000" b="0" dirty="0">
                <a:latin typeface="+mn-lt"/>
              </a:rPr>
              <a:t>Christine</a:t>
            </a:r>
          </a:p>
          <a:p>
            <a:pPr marL="0" indent="0">
              <a:buNone/>
            </a:pPr>
            <a:endParaRPr lang="de-DE" sz="2000" b="0" dirty="0">
              <a:latin typeface="+mn-lt"/>
            </a:endParaRPr>
          </a:p>
          <a:p>
            <a:pPr marL="0" indent="0">
              <a:buNone/>
            </a:pPr>
            <a:r>
              <a:rPr lang="de-DE" sz="2000" b="0" dirty="0"/>
              <a:t>Stefan Polletin</a:t>
            </a:r>
            <a:br>
              <a:rPr lang="de-DE" sz="2000" b="0" dirty="0"/>
            </a:br>
            <a:r>
              <a:rPr lang="de-DE" sz="1600" b="0" dirty="0"/>
              <a:t>Business Development Österreich</a:t>
            </a:r>
            <a:endParaRPr lang="de-DE" sz="2000" b="0" dirty="0"/>
          </a:p>
          <a:p>
            <a:pPr marL="0" indent="0">
              <a:buNone/>
            </a:pPr>
            <a:r>
              <a:rPr lang="de-DE" sz="2000" b="0" dirty="0"/>
              <a:t>+43 676 844 172 801</a:t>
            </a:r>
            <a:br>
              <a:rPr lang="de-DE" sz="2000" b="0" dirty="0"/>
            </a:br>
            <a:r>
              <a:rPr lang="de-DE" sz="2000" b="0" dirty="0"/>
              <a:t>stefan.polletin@attensam.at</a:t>
            </a:r>
            <a:endParaRPr lang="de-DE" sz="2000" b="0" dirty="0">
              <a:latin typeface="+mn-lt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39C23FCA-2BF9-47D3-B798-FA5885116C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hre Ansprechpartner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05AEE7C6-F543-43A2-A21E-7628FFBFF68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5DB861CF-7621-4F44-A0AE-F0E7519FA72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xmlns="" id="{B7068AB3-6B18-4747-B969-9327BAA0A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10073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241990CC-2318-4E12-B49C-03054B6DBB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oderne Kommunikatio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5D3226B2-98DF-4C9F-96B6-87A6430BC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58CDEB39-DBA2-494B-B2A0-9BC57465C60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4708183B-B55C-4C2A-98C1-473AAF6D21C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55EECBE3-8641-48FA-AEE2-3EF2444E85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5600" y="1319435"/>
            <a:ext cx="6638925" cy="4953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Inhaltsplatzhalter 6">
            <a:extLst>
              <a:ext uri="{FF2B5EF4-FFF2-40B4-BE49-F238E27FC236}">
                <a16:creationId xmlns:a16="http://schemas.microsoft.com/office/drawing/2014/main" xmlns="" id="{C34CDEFD-DC16-4842-AD03-0FF7B03800F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191344" y="1207683"/>
            <a:ext cx="3896986" cy="29163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8A3F3404-7842-4385-8F91-885E8544A2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5558" y="2989035"/>
            <a:ext cx="5498983" cy="32695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8439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816A8A4C-3A6E-4846-B391-61AFAEDCC3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Beispiel Raumbuchun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9B0F151F-D645-4704-95FC-5F150929E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241B99D6-4AF2-43C3-A8C3-212304535C5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BB02D373-3E42-408C-952C-82D3F4E02B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453634" name="Picture 2">
            <a:extLst>
              <a:ext uri="{FF2B5EF4-FFF2-40B4-BE49-F238E27FC236}">
                <a16:creationId xmlns:a16="http://schemas.microsoft.com/office/drawing/2014/main" xmlns="" id="{38CA1EE3-7334-448B-9A91-D84EB517784D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00" y="1340644"/>
            <a:ext cx="7578200" cy="417671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3638" name="Picture 6">
            <a:extLst>
              <a:ext uri="{FF2B5EF4-FFF2-40B4-BE49-F238E27FC236}">
                <a16:creationId xmlns:a16="http://schemas.microsoft.com/office/drawing/2014/main" xmlns="" id="{05068816-B6AB-4D43-B6EC-17B84F353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640" y="1461125"/>
            <a:ext cx="8400256" cy="462451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3636" name="Picture 4">
            <a:extLst>
              <a:ext uri="{FF2B5EF4-FFF2-40B4-BE49-F238E27FC236}">
                <a16:creationId xmlns:a16="http://schemas.microsoft.com/office/drawing/2014/main" xmlns="" id="{02065C30-F7E0-4E45-957F-1DCADCF160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076" y="1232452"/>
            <a:ext cx="6702524" cy="490511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6267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xmlns="" id="{A3B474E5-49EE-45FC-945D-F1DDC0F9B2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solidFill>
            <a:schemeClr val="bg1"/>
          </a:solidFill>
        </p:spPr>
        <p:txBody>
          <a:bodyPr/>
          <a:lstStyle/>
          <a:p>
            <a:pPr lvl="2"/>
            <a:r>
              <a:rPr lang="de-DE" dirty="0"/>
              <a:t>Wohnungsübergabe-App</a:t>
            </a:r>
          </a:p>
          <a:p>
            <a:pPr lvl="2"/>
            <a:r>
              <a:rPr lang="de-DE" dirty="0"/>
              <a:t>Gebäudeinspektions-App</a:t>
            </a:r>
          </a:p>
          <a:p>
            <a:pPr lvl="2"/>
            <a:r>
              <a:rPr lang="de-DE" dirty="0"/>
              <a:t>ERP</a:t>
            </a:r>
          </a:p>
          <a:p>
            <a:pPr lvl="2"/>
            <a:r>
              <a:rPr lang="de-DE" dirty="0"/>
              <a:t>DMS</a:t>
            </a:r>
          </a:p>
          <a:p>
            <a:pPr lvl="2"/>
            <a:r>
              <a:rPr lang="de-DE" dirty="0"/>
              <a:t>CRM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26F01C41-9AD2-4EE2-B8A2-ED6DBED4A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3800C2ED-1F94-4E6C-9D59-29ED9EE66C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Zusatzdienste und Partner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F19D5D19-3E8A-4159-A7AA-101DEA3D789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5CC23E-4501-408C-B024-35FB3BAB3E80}" type="datetime1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09.2019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3C5064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1F4C422C-DC19-4AAC-8207-1687CD861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Mongolian Baiti" panose="03000500000000000000" pitchFamily="66" charset="0"/>
              </a:rPr>
              <a:t>|</a:t>
            </a:r>
            <a:r>
              <a:rPr kumimoji="0" lang="de-DE" sz="1300" b="1" i="0" u="none" strike="noStrike" kern="1200" cap="none" spc="0" normalizeH="0" baseline="0" noProof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Mongolian Baiti" panose="03000500000000000000" pitchFamily="66" charset="0"/>
              </a:rPr>
              <a:t> </a:t>
            </a:r>
            <a:r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Mongolian Baiti" panose="03000500000000000000" pitchFamily="66" charset="0"/>
              </a:rPr>
              <a:t>Seite </a:t>
            </a:r>
            <a:fld id="{8A0B9F3C-E4EC-4E6F-90C2-1FD8FD0BF77B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Mongolian Baiti" panose="03000500000000000000" pitchFamily="66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3C5064"/>
              </a:solidFill>
              <a:effectLst/>
              <a:uLnTx/>
              <a:uFillTx/>
              <a:latin typeface="Montserrat"/>
              <a:ea typeface="+mn-ea"/>
              <a:cs typeface="Mongolian Baiti" panose="03000500000000000000" pitchFamily="66" charset="0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4A4E2871-BAD2-4F28-9274-B0BDCD8E5E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de-DE" dirty="0"/>
              <a:t>Software	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xmlns="" id="{81F5428E-83DE-4F6B-9FCB-AC070CF17D7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225706" y="2410703"/>
            <a:ext cx="3564396" cy="2448322"/>
          </a:xfrm>
          <a:solidFill>
            <a:schemeClr val="bg1"/>
          </a:solidFill>
        </p:spPr>
        <p:txBody>
          <a:bodyPr/>
          <a:lstStyle/>
          <a:p>
            <a:pPr lvl="2"/>
            <a:r>
              <a:rPr lang="de-DE" dirty="0"/>
              <a:t>Paketboxen</a:t>
            </a:r>
          </a:p>
          <a:p>
            <a:pPr lvl="2"/>
            <a:r>
              <a:rPr lang="de-DE" dirty="0"/>
              <a:t>Digitale Hausaushänge</a:t>
            </a:r>
          </a:p>
          <a:p>
            <a:pPr lvl="2"/>
            <a:r>
              <a:rPr lang="de-DE" dirty="0"/>
              <a:t>Fahrstuhl-Display</a:t>
            </a:r>
          </a:p>
          <a:p>
            <a:pPr lvl="2"/>
            <a:r>
              <a:rPr lang="de-DE" dirty="0"/>
              <a:t>Digitales Schließsystem </a:t>
            </a:r>
          </a:p>
          <a:p>
            <a:pPr marL="0" lvl="2" indent="0">
              <a:buNone/>
            </a:pPr>
            <a:endParaRPr lang="de-DE" dirty="0"/>
          </a:p>
          <a:p>
            <a:pPr marL="0" lvl="2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6E216976-1EEF-41D4-8FF1-79F9F12067F1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pPr algn="ctr"/>
            <a:r>
              <a:rPr lang="de-DE" dirty="0"/>
              <a:t>Hardwar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xmlns="" id="{393530F8-08EF-4D1C-B9B8-4DAD2F8E92D7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solidFill>
            <a:schemeClr val="bg1"/>
          </a:solidFill>
        </p:spPr>
        <p:txBody>
          <a:bodyPr/>
          <a:lstStyle/>
          <a:p>
            <a:pPr lvl="2"/>
            <a:r>
              <a:rPr lang="de-DE" dirty="0"/>
              <a:t>Akten-Digitalisierung</a:t>
            </a:r>
          </a:p>
          <a:p>
            <a:pPr lvl="2"/>
            <a:r>
              <a:rPr lang="de-DE" dirty="0"/>
              <a:t>Schadensmanagement</a:t>
            </a:r>
          </a:p>
          <a:p>
            <a:pPr lvl="2"/>
            <a:r>
              <a:rPr lang="de-DE" dirty="0"/>
              <a:t>Energie</a:t>
            </a:r>
          </a:p>
          <a:p>
            <a:pPr lvl="2"/>
            <a:r>
              <a:rPr lang="de-DE" dirty="0"/>
              <a:t>Facilitymanagement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xmlns="" id="{CB113B84-76C4-4AA6-B28E-F57C5804F0E4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pPr algn="ctr"/>
            <a:r>
              <a:rPr lang="de-DE" dirty="0"/>
              <a:t>Dienstleister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xmlns="" id="{B530D2B5-0C0F-4B13-8B34-E65F1CAD109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0800" b="32519"/>
          <a:stretch/>
        </p:blipFill>
        <p:spPr>
          <a:xfrm>
            <a:off x="2262354" y="4579015"/>
            <a:ext cx="1238829" cy="198196"/>
          </a:xfrm>
          <a:prstGeom prst="rect">
            <a:avLst/>
          </a:prstGeom>
        </p:spPr>
      </p:pic>
      <p:pic>
        <p:nvPicPr>
          <p:cNvPr id="17" name="Picture 12" descr="Image result for haufe real estate logo">
            <a:extLst>
              <a:ext uri="{FF2B5EF4-FFF2-40B4-BE49-F238E27FC236}">
                <a16:creationId xmlns:a16="http://schemas.microsoft.com/office/drawing/2014/main" xmlns="" id="{D4044383-9509-48E1-8B5E-F5341CD623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14" t="23611" r="6334" b="33351"/>
          <a:stretch/>
        </p:blipFill>
        <p:spPr bwMode="auto">
          <a:xfrm>
            <a:off x="2237863" y="5086348"/>
            <a:ext cx="1382743" cy="33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starke-logo">
            <a:extLst>
              <a:ext uri="{FF2B5EF4-FFF2-40B4-BE49-F238E27FC236}">
                <a16:creationId xmlns:a16="http://schemas.microsoft.com/office/drawing/2014/main" xmlns="" id="{C1239A9F-3756-49D7-A5C2-614A084F21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15" b="26431"/>
          <a:stretch/>
        </p:blipFill>
        <p:spPr bwMode="auto">
          <a:xfrm>
            <a:off x="536328" y="5669132"/>
            <a:ext cx="1290330" cy="28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Image result for myrenzbox logo">
            <a:extLst>
              <a:ext uri="{FF2B5EF4-FFF2-40B4-BE49-F238E27FC236}">
                <a16:creationId xmlns:a16="http://schemas.microsoft.com/office/drawing/2014/main" xmlns="" id="{9DA9DB0F-7C50-4BA7-BF5B-88B8D40C45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25" t="16647" r="8418" b="16749"/>
          <a:stretch/>
        </p:blipFill>
        <p:spPr bwMode="auto">
          <a:xfrm>
            <a:off x="4661439" y="4401154"/>
            <a:ext cx="822493" cy="438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xmlns="" id="{74AA9BB9-8983-4211-925E-B423246E25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75320" y="4409881"/>
            <a:ext cx="1321936" cy="396580"/>
          </a:xfrm>
          <a:prstGeom prst="rect">
            <a:avLst/>
          </a:prstGeom>
        </p:spPr>
      </p:pic>
      <p:pic>
        <p:nvPicPr>
          <p:cNvPr id="21" name="Picture 6" descr="letterscan">
            <a:extLst>
              <a:ext uri="{FF2B5EF4-FFF2-40B4-BE49-F238E27FC236}">
                <a16:creationId xmlns:a16="http://schemas.microsoft.com/office/drawing/2014/main" xmlns="" id="{7C4B1791-8717-4E37-BA03-17EDA0DB69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716" y="5053769"/>
            <a:ext cx="1342363" cy="223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Image result for inteligy logo köln">
            <a:extLst>
              <a:ext uri="{FF2B5EF4-FFF2-40B4-BE49-F238E27FC236}">
                <a16:creationId xmlns:a16="http://schemas.microsoft.com/office/drawing/2014/main" xmlns="" id="{03BF2572-432B-48F3-B845-AFEFD41D97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53" b="20070"/>
          <a:stretch/>
        </p:blipFill>
        <p:spPr bwMode="auto">
          <a:xfrm>
            <a:off x="10165236" y="4347150"/>
            <a:ext cx="1253325" cy="34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Pantaenius_Logo">
            <a:extLst>
              <a:ext uri="{FF2B5EF4-FFF2-40B4-BE49-F238E27FC236}">
                <a16:creationId xmlns:a16="http://schemas.microsoft.com/office/drawing/2014/main" xmlns="" id="{CF3F01E7-12E2-41D4-818E-F659253A0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0256" y="4301593"/>
            <a:ext cx="1253324" cy="438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Image result for chapps logo rental">
            <a:extLst>
              <a:ext uri="{FF2B5EF4-FFF2-40B4-BE49-F238E27FC236}">
                <a16:creationId xmlns:a16="http://schemas.microsoft.com/office/drawing/2014/main" xmlns="" id="{6A5C1DB0-72B2-4BA4-83D5-7789DF5915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37" y="4520925"/>
            <a:ext cx="1217158" cy="338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780" name="Picture 4" descr="Bildergebnis fÃ¼r attensam">
            <a:extLst>
              <a:ext uri="{FF2B5EF4-FFF2-40B4-BE49-F238E27FC236}">
                <a16:creationId xmlns:a16="http://schemas.microsoft.com/office/drawing/2014/main" xmlns="" id="{40E39404-EE65-4080-B519-35AB08DF2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260" y="4986875"/>
            <a:ext cx="1205692" cy="442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784" name="Picture 8" descr="Bildergebnis fÃ¼r kiwi tÃ¼rÃ¶ffner">
            <a:extLst>
              <a:ext uri="{FF2B5EF4-FFF2-40B4-BE49-F238E27FC236}">
                <a16:creationId xmlns:a16="http://schemas.microsoft.com/office/drawing/2014/main" xmlns="" id="{F0108807-B657-4EE3-B2A9-C53C35E6D4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90" b="27198"/>
          <a:stretch/>
        </p:blipFill>
        <p:spPr bwMode="auto">
          <a:xfrm>
            <a:off x="6279364" y="5028852"/>
            <a:ext cx="981385" cy="442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5AC675BB-AF44-4AB7-B9EE-6FF5C12321E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511824" y="5072082"/>
            <a:ext cx="1099709" cy="3313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070BDC98-CA3D-44DB-B8A7-0519B52B742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62354" y="5615518"/>
            <a:ext cx="1080121" cy="38868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729162BE-CBC7-4BB5-B56D-B827CBF7FB0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306838" y="5556826"/>
            <a:ext cx="1440160" cy="461332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xmlns="" id="{3926EEBB-0AB3-4FD8-96EC-CC863B4D8F7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43477" y="5165767"/>
            <a:ext cx="1356478" cy="17150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9695B3CF-6A88-4EBC-9A32-92C46943B02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190590" y="5563628"/>
            <a:ext cx="1234002" cy="355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4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xmlns="" id="{146483EE-B6EC-45C4-A69B-C564D82C63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508" name="think-cell Folie" r:id="rId6" imgW="245" imgH="245" progId="TCLayout.ActiveDocument.1">
                  <p:embed/>
                </p:oleObj>
              </mc:Choice>
              <mc:Fallback>
                <p:oleObj name="think-cell Folie" r:id="rId6" imgW="245" imgH="245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xmlns="" id="{146483EE-B6EC-45C4-A69B-C564D82C6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xmlns="" id="{BD4F671F-D1E8-48CD-BE03-4B5241E6B0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dirty="0">
              <a:latin typeface="Montserrat" panose="00000500000000000000" pitchFamily="2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45A7013E-BD30-48FB-B002-C588E19F0A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de-DE" sz="1800" dirty="0"/>
              <a:t>casavi in Zahl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16511BB3-8501-4DBE-813A-BE02031789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1364" y="2276908"/>
            <a:ext cx="5616000" cy="3671980"/>
          </a:xfrm>
        </p:spPr>
        <p:txBody>
          <a:bodyPr/>
          <a:lstStyle/>
          <a:p>
            <a:pPr lvl="2"/>
            <a:r>
              <a:rPr lang="de-DE" sz="1800" dirty="0"/>
              <a:t>Über 350 zufriedene Kunden in  Deutschland, Österreich und der Schweiz</a:t>
            </a:r>
          </a:p>
          <a:p>
            <a:pPr lvl="2"/>
            <a:r>
              <a:rPr lang="de-DE" sz="1800" dirty="0"/>
              <a:t>Im Einsatz bei mehr als 20.000 Gebäuden und 500.000 Wohneinheiten</a:t>
            </a:r>
          </a:p>
          <a:p>
            <a:pPr lvl="2"/>
            <a:r>
              <a:rPr lang="de-DE" sz="1800" dirty="0"/>
              <a:t>40 Mitarbeiter</a:t>
            </a:r>
          </a:p>
          <a:p>
            <a:pPr lvl="2"/>
            <a:r>
              <a:rPr lang="de-DE" sz="1800" dirty="0"/>
              <a:t>3 Standorte: München, Berlin und Frankfurt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xmlns="" id="{79C3F33A-1CBE-4C55-8EC8-62AC5BB79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B05119F5-4015-44A8-81A0-267D58A049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Über </a:t>
            </a:r>
            <a:r>
              <a:rPr lang="de-DE" dirty="0" err="1"/>
              <a:t>casavi</a:t>
            </a:r>
            <a:endParaRPr lang="de-DE" dirty="0"/>
          </a:p>
        </p:txBody>
      </p:sp>
      <p:sp>
        <p:nvSpPr>
          <p:cNvPr id="47" name="Datumsplatzhalter 46">
            <a:extLst>
              <a:ext uri="{FF2B5EF4-FFF2-40B4-BE49-F238E27FC236}">
                <a16:creationId xmlns:a16="http://schemas.microsoft.com/office/drawing/2014/main" xmlns="" id="{E7B99DA9-1800-4120-9F6D-DF0E6C6ED7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4042B4D-3699-407F-8D89-6876078B5552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48" name="Foliennummernplatzhalter 47">
            <a:extLst>
              <a:ext uri="{FF2B5EF4-FFF2-40B4-BE49-F238E27FC236}">
                <a16:creationId xmlns:a16="http://schemas.microsoft.com/office/drawing/2014/main" xmlns="" id="{27DB3BDA-F93A-435E-941F-A2F295929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| Seite </a:t>
            </a:r>
            <a:fld id="{8A0B9F3C-E4EC-4E6F-90C2-1FD8FD0BF77B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xmlns="" id="{D4B36A9E-A1B8-4078-8118-BEDA1B0C23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28105" y="4975599"/>
            <a:ext cx="938949" cy="818933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xmlns="" id="{C89E8E5C-238D-41F9-99BB-F02C4CF7B0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57897" y="5022353"/>
            <a:ext cx="1826192" cy="818933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xmlns="" id="{53CE6527-A0FD-4E6F-8059-53E2E4579C1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299356" y="4966560"/>
            <a:ext cx="1656463" cy="98272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xmlns="" id="{C4963C94-571F-45D1-827A-4C2EEB28E0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57320" y="5022353"/>
            <a:ext cx="835819" cy="8186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3906D8F5-57A5-48DE-A77D-5AF9B684FCF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468192" y="2191096"/>
            <a:ext cx="1284405" cy="96138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4D7F8180-3ABD-404F-B908-EEB42966611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439707" y="4457801"/>
            <a:ext cx="1344002" cy="67200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E9B99E9-5C04-43EC-A384-5D90D562268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261869" y="4599168"/>
            <a:ext cx="1901785" cy="447976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xmlns="" id="{760036DD-2396-42B0-9BBD-40BB331EAE2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288913" y="2446115"/>
            <a:ext cx="1562348" cy="45641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xmlns="" id="{A3086ADD-7FFF-4122-82AC-ADD76E927B8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740464" y="2390674"/>
            <a:ext cx="989628" cy="736087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xmlns="" id="{7BCEE2CB-41F7-4D89-BFC4-C5B7FC79981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458198" y="3580411"/>
            <a:ext cx="1554157" cy="516911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xmlns="" id="{885DF569-2F6B-4DE6-A33D-2B332CDDF60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280156" y="3584954"/>
            <a:ext cx="1817948" cy="39010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xmlns="" id="{62E81944-E3FB-418A-8287-50AC21EE204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355267" y="4621043"/>
            <a:ext cx="1769453" cy="345515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xmlns="" id="{2FDB43A0-3BE5-4D66-84D8-A2A6CB71609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392654" y="3619379"/>
            <a:ext cx="1354865" cy="438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46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xmlns="" id="{3A53EE42-25EC-4809-920D-1BA03994D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37925"/>
            <a:ext cx="4536000" cy="498598"/>
          </a:xfrm>
        </p:spPr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6CA127E8-65F7-4949-94E3-49F2F3E23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dirty="0"/>
              <a:t>Zeitersparnis</a:t>
            </a:r>
          </a:p>
          <a:p>
            <a:pPr marL="0" lvl="1"/>
            <a:r>
              <a:rPr lang="de-DE" sz="1400" dirty="0"/>
              <a:t>       z.B. effizientere Organisation</a:t>
            </a:r>
          </a:p>
          <a:p>
            <a:r>
              <a:rPr lang="de-DE" sz="1800" dirty="0"/>
              <a:t>Kostenersparnis</a:t>
            </a:r>
          </a:p>
          <a:p>
            <a:pPr lvl="1"/>
            <a:r>
              <a:rPr lang="de-DE" sz="1400" b="0" dirty="0"/>
              <a:t>z.B. reduzierte Portokosten</a:t>
            </a:r>
            <a:endParaRPr lang="de-DE" sz="1400" dirty="0"/>
          </a:p>
          <a:p>
            <a:r>
              <a:rPr lang="de-DE" sz="1800" dirty="0"/>
              <a:t>Mitarbeiterzufriedenheit</a:t>
            </a:r>
          </a:p>
          <a:p>
            <a:pPr marL="0" lvl="1"/>
            <a:r>
              <a:rPr lang="de-DE" sz="1400" dirty="0"/>
              <a:t>        z.B. weniger repetitive Aufgaben</a:t>
            </a:r>
          </a:p>
          <a:p>
            <a:r>
              <a:rPr lang="de-DE" sz="1800" dirty="0"/>
              <a:t>Kundenzufriedenheit</a:t>
            </a:r>
          </a:p>
          <a:p>
            <a:pPr marL="0" lvl="1"/>
            <a:r>
              <a:rPr lang="de-DE" sz="1400" dirty="0"/>
              <a:t>       z.B. höhere Serviceverfügbarkeit</a:t>
            </a:r>
          </a:p>
          <a:p>
            <a:r>
              <a:rPr lang="de-DE" sz="1800" dirty="0"/>
              <a:t>Wettbewerbsvorteil</a:t>
            </a:r>
          </a:p>
          <a:p>
            <a:pPr marL="0" lvl="1"/>
            <a:r>
              <a:rPr lang="de-DE" sz="1400" dirty="0"/>
              <a:t>        z.B. Differenzierungsmerkmal in der Akquise</a:t>
            </a:r>
          </a:p>
          <a:p>
            <a:endParaRPr lang="de-DE" sz="160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D5C17444-DBB0-41F3-AECA-9EA69E9753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as wir hö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90FBD67A-5B31-4E63-96AA-BD3D631513E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C5A254E-1D04-43E9-93AA-3A7CE2EFE20F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E6B983B-335D-4437-81A3-D3C5C0674EE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xmlns="" id="{CD1E4D76-F79C-4D14-80DD-0E7F23B478C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12129" r="1212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08035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7800A47E-0E7F-43A4-934A-43F962E39A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anzheitliche Kommunikatio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A952329A-1177-48A1-90A8-BE2DBEC5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70A5259F-7E55-4E84-9076-D4D948CC3970}"/>
              </a:ext>
            </a:extLst>
          </p:cNvPr>
          <p:cNvGrpSpPr/>
          <p:nvPr/>
        </p:nvGrpSpPr>
        <p:grpSpPr>
          <a:xfrm>
            <a:off x="3899756" y="1664804"/>
            <a:ext cx="4200962" cy="3666902"/>
            <a:chOff x="3899756" y="1837883"/>
            <a:chExt cx="4200962" cy="3666902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xmlns="" id="{8C90857D-D052-4DC0-A4D1-1192B65E053D}"/>
                </a:ext>
              </a:extLst>
            </p:cNvPr>
            <p:cNvSpPr/>
            <p:nvPr/>
          </p:nvSpPr>
          <p:spPr>
            <a:xfrm>
              <a:off x="5375920" y="1837883"/>
              <a:ext cx="1512168" cy="1182626"/>
            </a:xfrm>
            <a:custGeom>
              <a:avLst/>
              <a:gdLst>
                <a:gd name="connsiteX0" fmla="*/ 0 w 1917492"/>
                <a:gd name="connsiteY0" fmla="*/ 207732 h 1246369"/>
                <a:gd name="connsiteX1" fmla="*/ 207732 w 1917492"/>
                <a:gd name="connsiteY1" fmla="*/ 0 h 1246369"/>
                <a:gd name="connsiteX2" fmla="*/ 1709760 w 1917492"/>
                <a:gd name="connsiteY2" fmla="*/ 0 h 1246369"/>
                <a:gd name="connsiteX3" fmla="*/ 1917492 w 1917492"/>
                <a:gd name="connsiteY3" fmla="*/ 207732 h 1246369"/>
                <a:gd name="connsiteX4" fmla="*/ 1917492 w 1917492"/>
                <a:gd name="connsiteY4" fmla="*/ 1038637 h 1246369"/>
                <a:gd name="connsiteX5" fmla="*/ 1709760 w 1917492"/>
                <a:gd name="connsiteY5" fmla="*/ 1246369 h 1246369"/>
                <a:gd name="connsiteX6" fmla="*/ 207732 w 1917492"/>
                <a:gd name="connsiteY6" fmla="*/ 1246369 h 1246369"/>
                <a:gd name="connsiteX7" fmla="*/ 0 w 1917492"/>
                <a:gd name="connsiteY7" fmla="*/ 1038637 h 1246369"/>
                <a:gd name="connsiteX8" fmla="*/ 0 w 1917492"/>
                <a:gd name="connsiteY8" fmla="*/ 207732 h 124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7492" h="1246369">
                  <a:moveTo>
                    <a:pt x="0" y="207732"/>
                  </a:moveTo>
                  <a:cubicBezTo>
                    <a:pt x="0" y="93005"/>
                    <a:pt x="93005" y="0"/>
                    <a:pt x="207732" y="0"/>
                  </a:cubicBezTo>
                  <a:lnTo>
                    <a:pt x="1709760" y="0"/>
                  </a:lnTo>
                  <a:cubicBezTo>
                    <a:pt x="1824487" y="0"/>
                    <a:pt x="1917492" y="93005"/>
                    <a:pt x="1917492" y="207732"/>
                  </a:cubicBezTo>
                  <a:lnTo>
                    <a:pt x="1917492" y="1038637"/>
                  </a:lnTo>
                  <a:cubicBezTo>
                    <a:pt x="1917492" y="1153364"/>
                    <a:pt x="1824487" y="1246369"/>
                    <a:pt x="1709760" y="1246369"/>
                  </a:cubicBezTo>
                  <a:lnTo>
                    <a:pt x="207732" y="1246369"/>
                  </a:lnTo>
                  <a:cubicBezTo>
                    <a:pt x="93005" y="1246369"/>
                    <a:pt x="0" y="1153364"/>
                    <a:pt x="0" y="1038637"/>
                  </a:cubicBezTo>
                  <a:lnTo>
                    <a:pt x="0" y="207732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0863" tIns="220863" rIns="220863" bIns="220863" numCol="1" spcCol="1270" anchor="ctr" anchorCtr="0">
              <a:noAutofit/>
            </a:bodyPr>
            <a:lstStyle/>
            <a:p>
              <a:pPr marL="0" lvl="0" indent="0" algn="ctr" defTabSz="1866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4200" kern="120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7115CB9A-CF7D-42E7-8FDD-5B941B2CC1D1}"/>
                </a:ext>
              </a:extLst>
            </p:cNvPr>
            <p:cNvSpPr/>
            <p:nvPr/>
          </p:nvSpPr>
          <p:spPr>
            <a:xfrm>
              <a:off x="6672064" y="4286155"/>
              <a:ext cx="1428654" cy="1182626"/>
            </a:xfrm>
            <a:custGeom>
              <a:avLst/>
              <a:gdLst>
                <a:gd name="connsiteX0" fmla="*/ 0 w 1917492"/>
                <a:gd name="connsiteY0" fmla="*/ 207732 h 1246369"/>
                <a:gd name="connsiteX1" fmla="*/ 207732 w 1917492"/>
                <a:gd name="connsiteY1" fmla="*/ 0 h 1246369"/>
                <a:gd name="connsiteX2" fmla="*/ 1709760 w 1917492"/>
                <a:gd name="connsiteY2" fmla="*/ 0 h 1246369"/>
                <a:gd name="connsiteX3" fmla="*/ 1917492 w 1917492"/>
                <a:gd name="connsiteY3" fmla="*/ 207732 h 1246369"/>
                <a:gd name="connsiteX4" fmla="*/ 1917492 w 1917492"/>
                <a:gd name="connsiteY4" fmla="*/ 1038637 h 1246369"/>
                <a:gd name="connsiteX5" fmla="*/ 1709760 w 1917492"/>
                <a:gd name="connsiteY5" fmla="*/ 1246369 h 1246369"/>
                <a:gd name="connsiteX6" fmla="*/ 207732 w 1917492"/>
                <a:gd name="connsiteY6" fmla="*/ 1246369 h 1246369"/>
                <a:gd name="connsiteX7" fmla="*/ 0 w 1917492"/>
                <a:gd name="connsiteY7" fmla="*/ 1038637 h 1246369"/>
                <a:gd name="connsiteX8" fmla="*/ 0 w 1917492"/>
                <a:gd name="connsiteY8" fmla="*/ 207732 h 124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7492" h="1246369">
                  <a:moveTo>
                    <a:pt x="0" y="207732"/>
                  </a:moveTo>
                  <a:cubicBezTo>
                    <a:pt x="0" y="93005"/>
                    <a:pt x="93005" y="0"/>
                    <a:pt x="207732" y="0"/>
                  </a:cubicBezTo>
                  <a:lnTo>
                    <a:pt x="1709760" y="0"/>
                  </a:lnTo>
                  <a:cubicBezTo>
                    <a:pt x="1824487" y="0"/>
                    <a:pt x="1917492" y="93005"/>
                    <a:pt x="1917492" y="207732"/>
                  </a:cubicBezTo>
                  <a:lnTo>
                    <a:pt x="1917492" y="1038637"/>
                  </a:lnTo>
                  <a:cubicBezTo>
                    <a:pt x="1917492" y="1153364"/>
                    <a:pt x="1824487" y="1246369"/>
                    <a:pt x="1709760" y="1246369"/>
                  </a:cubicBezTo>
                  <a:lnTo>
                    <a:pt x="207732" y="1246369"/>
                  </a:lnTo>
                  <a:cubicBezTo>
                    <a:pt x="93005" y="1246369"/>
                    <a:pt x="0" y="1153364"/>
                    <a:pt x="0" y="1038637"/>
                  </a:cubicBezTo>
                  <a:lnTo>
                    <a:pt x="0" y="207732"/>
                  </a:lnTo>
                  <a:close/>
                </a:path>
              </a:pathLst>
            </a:custGeom>
            <a:blipFill dpi="0" rotWithShape="1">
              <a:blip r:embed="rId4"/>
              <a:srcRect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0863" tIns="220863" rIns="220863" bIns="220863" numCol="1" spcCol="1270" anchor="ctr" anchorCtr="0">
              <a:noAutofit/>
            </a:bodyPr>
            <a:lstStyle/>
            <a:p>
              <a:pPr marL="0" lvl="0" indent="0" algn="ctr" defTabSz="1866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4200" kern="1200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2DC230D8-4D7C-43E6-8CD9-F67CC689847B}"/>
                </a:ext>
              </a:extLst>
            </p:cNvPr>
            <p:cNvSpPr/>
            <p:nvPr/>
          </p:nvSpPr>
          <p:spPr>
            <a:xfrm>
              <a:off x="3899756" y="4322159"/>
              <a:ext cx="1716684" cy="1182626"/>
            </a:xfrm>
            <a:custGeom>
              <a:avLst/>
              <a:gdLst>
                <a:gd name="connsiteX0" fmla="*/ 0 w 1917492"/>
                <a:gd name="connsiteY0" fmla="*/ 207732 h 1246369"/>
                <a:gd name="connsiteX1" fmla="*/ 207732 w 1917492"/>
                <a:gd name="connsiteY1" fmla="*/ 0 h 1246369"/>
                <a:gd name="connsiteX2" fmla="*/ 1709760 w 1917492"/>
                <a:gd name="connsiteY2" fmla="*/ 0 h 1246369"/>
                <a:gd name="connsiteX3" fmla="*/ 1917492 w 1917492"/>
                <a:gd name="connsiteY3" fmla="*/ 207732 h 1246369"/>
                <a:gd name="connsiteX4" fmla="*/ 1917492 w 1917492"/>
                <a:gd name="connsiteY4" fmla="*/ 1038637 h 1246369"/>
                <a:gd name="connsiteX5" fmla="*/ 1709760 w 1917492"/>
                <a:gd name="connsiteY5" fmla="*/ 1246369 h 1246369"/>
                <a:gd name="connsiteX6" fmla="*/ 207732 w 1917492"/>
                <a:gd name="connsiteY6" fmla="*/ 1246369 h 1246369"/>
                <a:gd name="connsiteX7" fmla="*/ 0 w 1917492"/>
                <a:gd name="connsiteY7" fmla="*/ 1038637 h 1246369"/>
                <a:gd name="connsiteX8" fmla="*/ 0 w 1917492"/>
                <a:gd name="connsiteY8" fmla="*/ 207732 h 124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7492" h="1246369">
                  <a:moveTo>
                    <a:pt x="0" y="207732"/>
                  </a:moveTo>
                  <a:cubicBezTo>
                    <a:pt x="0" y="93005"/>
                    <a:pt x="93005" y="0"/>
                    <a:pt x="207732" y="0"/>
                  </a:cubicBezTo>
                  <a:lnTo>
                    <a:pt x="1709760" y="0"/>
                  </a:lnTo>
                  <a:cubicBezTo>
                    <a:pt x="1824487" y="0"/>
                    <a:pt x="1917492" y="93005"/>
                    <a:pt x="1917492" y="207732"/>
                  </a:cubicBezTo>
                  <a:lnTo>
                    <a:pt x="1917492" y="1038637"/>
                  </a:lnTo>
                  <a:cubicBezTo>
                    <a:pt x="1917492" y="1153364"/>
                    <a:pt x="1824487" y="1246369"/>
                    <a:pt x="1709760" y="1246369"/>
                  </a:cubicBezTo>
                  <a:lnTo>
                    <a:pt x="207732" y="1246369"/>
                  </a:lnTo>
                  <a:cubicBezTo>
                    <a:pt x="93005" y="1246369"/>
                    <a:pt x="0" y="1153364"/>
                    <a:pt x="0" y="1038637"/>
                  </a:cubicBezTo>
                  <a:lnTo>
                    <a:pt x="0" y="207732"/>
                  </a:ln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0863" tIns="220863" rIns="220863" bIns="220863" numCol="1" spcCol="1270" anchor="ctr" anchorCtr="0">
              <a:noAutofit/>
            </a:bodyPr>
            <a:lstStyle/>
            <a:p>
              <a:pPr marL="0" lvl="0" indent="0" algn="ctr" defTabSz="1866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4200" kern="1200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CFAE1A05-2CD0-485A-BC29-5A4E684952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CAE49839-25A7-44C7-8D96-34B8B5D211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4</a:t>
            </a:fld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xmlns="" id="{2E79B646-E08C-4F25-B50B-AE7DDFCB9AA7}"/>
              </a:ext>
            </a:extLst>
          </p:cNvPr>
          <p:cNvGrpSpPr/>
          <p:nvPr/>
        </p:nvGrpSpPr>
        <p:grpSpPr>
          <a:xfrm>
            <a:off x="6960096" y="1664804"/>
            <a:ext cx="1455848" cy="769441"/>
            <a:chOff x="2189977" y="1383442"/>
            <a:chExt cx="1455848" cy="769441"/>
          </a:xfrm>
          <a:effectLst/>
        </p:grpSpPr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xmlns="" id="{58C7050B-A62E-4E76-BA4F-24F0625B6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658029" y="1383442"/>
              <a:ext cx="502772" cy="502772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xmlns="" id="{B2F28196-0814-402F-9A0C-817920C35473}"/>
                </a:ext>
              </a:extLst>
            </p:cNvPr>
            <p:cNvSpPr txBox="1"/>
            <p:nvPr/>
          </p:nvSpPr>
          <p:spPr>
            <a:xfrm>
              <a:off x="2189977" y="1845106"/>
              <a:ext cx="145584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>
                  <a:solidFill>
                    <a:schemeClr val="bg2"/>
                  </a:solidFill>
                </a:rPr>
                <a:t>Hausverwalter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xmlns="" id="{BC34EA05-15D9-42FC-821B-AE3FE69A31AF}"/>
              </a:ext>
            </a:extLst>
          </p:cNvPr>
          <p:cNvGrpSpPr/>
          <p:nvPr/>
        </p:nvGrpSpPr>
        <p:grpSpPr>
          <a:xfrm>
            <a:off x="3321415" y="5301208"/>
            <a:ext cx="2018501" cy="792088"/>
            <a:chOff x="486955" y="5418751"/>
            <a:chExt cx="2018501" cy="79208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xmlns="" id="{28A6964F-98FB-4AE0-9C72-60E5AB7ED5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07035" y="5418751"/>
              <a:ext cx="593564" cy="593564"/>
            </a:xfrm>
            <a:prstGeom prst="rect">
              <a:avLst/>
            </a:prstGeom>
          </p:spPr>
        </p:pic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xmlns="" id="{C0C82929-757A-4F07-ADB4-AD8D3D31E1A9}"/>
                </a:ext>
              </a:extLst>
            </p:cNvPr>
            <p:cNvSpPr txBox="1"/>
            <p:nvPr/>
          </p:nvSpPr>
          <p:spPr>
            <a:xfrm>
              <a:off x="486955" y="5903062"/>
              <a:ext cx="201850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>
                  <a:solidFill>
                    <a:schemeClr val="bg2"/>
                  </a:solidFill>
                </a:rPr>
                <a:t>Mieter &amp; Eigentümer</a:t>
              </a:r>
            </a:p>
          </p:txBody>
        </p:sp>
      </p:grpSp>
      <p:sp>
        <p:nvSpPr>
          <p:cNvPr id="28" name="Textfeld 27">
            <a:extLst>
              <a:ext uri="{FF2B5EF4-FFF2-40B4-BE49-F238E27FC236}">
                <a16:creationId xmlns:a16="http://schemas.microsoft.com/office/drawing/2014/main" xmlns="" id="{54E6AAE0-EBF2-430C-8DE8-45C4F648A24C}"/>
              </a:ext>
            </a:extLst>
          </p:cNvPr>
          <p:cNvSpPr txBox="1"/>
          <p:nvPr/>
        </p:nvSpPr>
        <p:spPr>
          <a:xfrm>
            <a:off x="7248128" y="5797810"/>
            <a:ext cx="1289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chemeClr val="bg2"/>
                </a:solidFill>
              </a:rPr>
              <a:t>Dienstleister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xmlns="" id="{0760BB44-EA3F-426C-BB85-327C1FF9E647}"/>
              </a:ext>
            </a:extLst>
          </p:cNvPr>
          <p:cNvGrpSpPr>
            <a:grpSpLocks noChangeAspect="1"/>
          </p:cNvGrpSpPr>
          <p:nvPr/>
        </p:nvGrpSpPr>
        <p:grpSpPr>
          <a:xfrm>
            <a:off x="7660870" y="5373216"/>
            <a:ext cx="415350" cy="460598"/>
            <a:chOff x="3048000" y="3943351"/>
            <a:chExt cx="808038" cy="893762"/>
          </a:xfrm>
        </p:grpSpPr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xmlns="" id="{9BA81FA2-BBBD-4F6F-91BC-581F4FB92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013" y="4227513"/>
              <a:ext cx="342900" cy="260350"/>
            </a:xfrm>
            <a:custGeom>
              <a:avLst/>
              <a:gdLst>
                <a:gd name="T0" fmla="*/ 53 w 104"/>
                <a:gd name="T1" fmla="*/ 78 h 79"/>
                <a:gd name="T2" fmla="*/ 0 w 104"/>
                <a:gd name="T3" fmla="*/ 4 h 79"/>
                <a:gd name="T4" fmla="*/ 3 w 104"/>
                <a:gd name="T5" fmla="*/ 1 h 79"/>
                <a:gd name="T6" fmla="*/ 3 w 104"/>
                <a:gd name="T7" fmla="*/ 1 h 79"/>
                <a:gd name="T8" fmla="*/ 7 w 104"/>
                <a:gd name="T9" fmla="*/ 4 h 79"/>
                <a:gd name="T10" fmla="*/ 52 w 104"/>
                <a:gd name="T11" fmla="*/ 71 h 79"/>
                <a:gd name="T12" fmla="*/ 97 w 104"/>
                <a:gd name="T13" fmla="*/ 4 h 79"/>
                <a:gd name="T14" fmla="*/ 101 w 104"/>
                <a:gd name="T15" fmla="*/ 0 h 79"/>
                <a:gd name="T16" fmla="*/ 101 w 104"/>
                <a:gd name="T17" fmla="*/ 0 h 79"/>
                <a:gd name="T18" fmla="*/ 104 w 104"/>
                <a:gd name="T19" fmla="*/ 4 h 79"/>
                <a:gd name="T20" fmla="*/ 53 w 104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79">
                  <a:moveTo>
                    <a:pt x="53" y="78"/>
                  </a:moveTo>
                  <a:cubicBezTo>
                    <a:pt x="24" y="79"/>
                    <a:pt x="0" y="45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1"/>
                    <a:pt x="7" y="2"/>
                    <a:pt x="7" y="4"/>
                  </a:cubicBezTo>
                  <a:cubicBezTo>
                    <a:pt x="7" y="41"/>
                    <a:pt x="28" y="72"/>
                    <a:pt x="52" y="71"/>
                  </a:cubicBezTo>
                  <a:cubicBezTo>
                    <a:pt x="77" y="71"/>
                    <a:pt x="97" y="41"/>
                    <a:pt x="97" y="4"/>
                  </a:cubicBezTo>
                  <a:cubicBezTo>
                    <a:pt x="97" y="2"/>
                    <a:pt x="99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45"/>
                    <a:pt x="81" y="78"/>
                    <a:pt x="53" y="78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xmlns="" id="{38BA1967-CC7B-49C9-8A1B-FCACE79B0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0" y="4516438"/>
              <a:ext cx="168275" cy="320675"/>
            </a:xfrm>
            <a:custGeom>
              <a:avLst/>
              <a:gdLst>
                <a:gd name="T0" fmla="*/ 51 w 51"/>
                <a:gd name="T1" fmla="*/ 96 h 97"/>
                <a:gd name="T2" fmla="*/ 0 w 51"/>
                <a:gd name="T3" fmla="*/ 97 h 97"/>
                <a:gd name="T4" fmla="*/ 8 w 51"/>
                <a:gd name="T5" fmla="*/ 29 h 97"/>
                <a:gd name="T6" fmla="*/ 15 w 51"/>
                <a:gd name="T7" fmla="*/ 15 h 97"/>
                <a:gd name="T8" fmla="*/ 24 w 51"/>
                <a:gd name="T9" fmla="*/ 10 h 97"/>
                <a:gd name="T10" fmla="*/ 28 w 51"/>
                <a:gd name="T11" fmla="*/ 9 h 97"/>
                <a:gd name="T12" fmla="*/ 28 w 51"/>
                <a:gd name="T13" fmla="*/ 9 h 97"/>
                <a:gd name="T14" fmla="*/ 47 w 51"/>
                <a:gd name="T15" fmla="*/ 0 h 97"/>
                <a:gd name="T16" fmla="*/ 51 w 51"/>
                <a:gd name="T17" fmla="*/ 96 h 97"/>
                <a:gd name="T18" fmla="*/ 8 w 51"/>
                <a:gd name="T19" fmla="*/ 90 h 97"/>
                <a:gd name="T20" fmla="*/ 44 w 51"/>
                <a:gd name="T21" fmla="*/ 89 h 97"/>
                <a:gd name="T22" fmla="*/ 40 w 51"/>
                <a:gd name="T23" fmla="*/ 11 h 97"/>
                <a:gd name="T24" fmla="*/ 31 w 51"/>
                <a:gd name="T25" fmla="*/ 15 h 97"/>
                <a:gd name="T26" fmla="*/ 26 w 51"/>
                <a:gd name="T27" fmla="*/ 17 h 97"/>
                <a:gd name="T28" fmla="*/ 20 w 51"/>
                <a:gd name="T29" fmla="*/ 20 h 97"/>
                <a:gd name="T30" fmla="*/ 15 w 51"/>
                <a:gd name="T31" fmla="*/ 30 h 97"/>
                <a:gd name="T32" fmla="*/ 8 w 51"/>
                <a:gd name="T33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97">
                  <a:moveTo>
                    <a:pt x="51" y="96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4"/>
                    <a:pt x="11" y="19"/>
                    <a:pt x="15" y="15"/>
                  </a:cubicBezTo>
                  <a:cubicBezTo>
                    <a:pt x="17" y="12"/>
                    <a:pt x="21" y="11"/>
                    <a:pt x="24" y="10"/>
                  </a:cubicBezTo>
                  <a:cubicBezTo>
                    <a:pt x="25" y="10"/>
                    <a:pt x="27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51" y="96"/>
                  </a:lnTo>
                  <a:close/>
                  <a:moveTo>
                    <a:pt x="8" y="90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7" y="16"/>
                    <a:pt x="26" y="17"/>
                  </a:cubicBezTo>
                  <a:cubicBezTo>
                    <a:pt x="23" y="18"/>
                    <a:pt x="21" y="18"/>
                    <a:pt x="20" y="20"/>
                  </a:cubicBezTo>
                  <a:cubicBezTo>
                    <a:pt x="17" y="22"/>
                    <a:pt x="16" y="26"/>
                    <a:pt x="15" y="30"/>
                  </a:cubicBezTo>
                  <a:lnTo>
                    <a:pt x="8" y="90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xmlns="" id="{096DDEC4-B2B3-4E7C-B838-341B30F54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4588" y="4513263"/>
              <a:ext cx="171450" cy="317500"/>
            </a:xfrm>
            <a:custGeom>
              <a:avLst/>
              <a:gdLst>
                <a:gd name="T0" fmla="*/ 52 w 52"/>
                <a:gd name="T1" fmla="*/ 96 h 96"/>
                <a:gd name="T2" fmla="*/ 0 w 52"/>
                <a:gd name="T3" fmla="*/ 96 h 96"/>
                <a:gd name="T4" fmla="*/ 2 w 52"/>
                <a:gd name="T5" fmla="*/ 0 h 96"/>
                <a:gd name="T6" fmla="*/ 22 w 52"/>
                <a:gd name="T7" fmla="*/ 8 h 96"/>
                <a:gd name="T8" fmla="*/ 42 w 52"/>
                <a:gd name="T9" fmla="*/ 29 h 96"/>
                <a:gd name="T10" fmla="*/ 52 w 52"/>
                <a:gd name="T11" fmla="*/ 96 h 96"/>
                <a:gd name="T12" fmla="*/ 7 w 52"/>
                <a:gd name="T13" fmla="*/ 89 h 96"/>
                <a:gd name="T14" fmla="*/ 44 w 52"/>
                <a:gd name="T15" fmla="*/ 89 h 96"/>
                <a:gd name="T16" fmla="*/ 35 w 52"/>
                <a:gd name="T17" fmla="*/ 30 h 96"/>
                <a:gd name="T18" fmla="*/ 20 w 52"/>
                <a:gd name="T19" fmla="*/ 15 h 96"/>
                <a:gd name="T20" fmla="*/ 9 w 52"/>
                <a:gd name="T21" fmla="*/ 11 h 96"/>
                <a:gd name="T22" fmla="*/ 7 w 52"/>
                <a:gd name="T2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96">
                  <a:moveTo>
                    <a:pt x="52" y="96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32" y="12"/>
                    <a:pt x="41" y="17"/>
                    <a:pt x="42" y="29"/>
                  </a:cubicBezTo>
                  <a:lnTo>
                    <a:pt x="52" y="96"/>
                  </a:lnTo>
                  <a:close/>
                  <a:moveTo>
                    <a:pt x="7" y="89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4" y="22"/>
                    <a:pt x="29" y="18"/>
                    <a:pt x="20" y="15"/>
                  </a:cubicBezTo>
                  <a:cubicBezTo>
                    <a:pt x="9" y="11"/>
                    <a:pt x="9" y="11"/>
                    <a:pt x="9" y="11"/>
                  </a:cubicBezTo>
                  <a:lnTo>
                    <a:pt x="7" y="89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xmlns="" id="{36F00154-E869-4999-A995-82ADAF28C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463" y="4464051"/>
              <a:ext cx="511175" cy="250825"/>
            </a:xfrm>
            <a:custGeom>
              <a:avLst/>
              <a:gdLst>
                <a:gd name="T0" fmla="*/ 125 w 155"/>
                <a:gd name="T1" fmla="*/ 76 h 76"/>
                <a:gd name="T2" fmla="*/ 31 w 155"/>
                <a:gd name="T3" fmla="*/ 76 h 76"/>
                <a:gd name="T4" fmla="*/ 27 w 155"/>
                <a:gd name="T5" fmla="*/ 11 h 76"/>
                <a:gd name="T6" fmla="*/ 6 w 155"/>
                <a:gd name="T7" fmla="*/ 22 h 76"/>
                <a:gd name="T8" fmla="*/ 1 w 155"/>
                <a:gd name="T9" fmla="*/ 21 h 76"/>
                <a:gd name="T10" fmla="*/ 3 w 155"/>
                <a:gd name="T11" fmla="*/ 16 h 76"/>
                <a:gd name="T12" fmla="*/ 33 w 155"/>
                <a:gd name="T13" fmla="*/ 0 h 76"/>
                <a:gd name="T14" fmla="*/ 37 w 155"/>
                <a:gd name="T15" fmla="*/ 69 h 76"/>
                <a:gd name="T16" fmla="*/ 119 w 155"/>
                <a:gd name="T17" fmla="*/ 69 h 76"/>
                <a:gd name="T18" fmla="*/ 122 w 155"/>
                <a:gd name="T19" fmla="*/ 0 h 76"/>
                <a:gd name="T20" fmla="*/ 152 w 155"/>
                <a:gd name="T21" fmla="*/ 15 h 76"/>
                <a:gd name="T22" fmla="*/ 154 w 155"/>
                <a:gd name="T23" fmla="*/ 20 h 76"/>
                <a:gd name="T24" fmla="*/ 149 w 155"/>
                <a:gd name="T25" fmla="*/ 21 h 76"/>
                <a:gd name="T26" fmla="*/ 129 w 155"/>
                <a:gd name="T27" fmla="*/ 11 h 76"/>
                <a:gd name="T28" fmla="*/ 125 w 155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5" h="76">
                  <a:moveTo>
                    <a:pt x="125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4" y="23"/>
                    <a:pt x="2" y="23"/>
                    <a:pt x="1" y="21"/>
                  </a:cubicBezTo>
                  <a:cubicBezTo>
                    <a:pt x="0" y="19"/>
                    <a:pt x="1" y="17"/>
                    <a:pt x="3" y="16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4" y="16"/>
                    <a:pt x="155" y="18"/>
                    <a:pt x="154" y="20"/>
                  </a:cubicBezTo>
                  <a:cubicBezTo>
                    <a:pt x="153" y="22"/>
                    <a:pt x="151" y="22"/>
                    <a:pt x="149" y="21"/>
                  </a:cubicBezTo>
                  <a:cubicBezTo>
                    <a:pt x="129" y="11"/>
                    <a:pt x="129" y="11"/>
                    <a:pt x="129" y="11"/>
                  </a:cubicBezTo>
                  <a:lnTo>
                    <a:pt x="125" y="76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xmlns="" id="{268B5FAF-789F-44BB-A0A4-5DA9999C1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813" y="4806951"/>
              <a:ext cx="501650" cy="26988"/>
            </a:xfrm>
            <a:custGeom>
              <a:avLst/>
              <a:gdLst>
                <a:gd name="T0" fmla="*/ 149 w 152"/>
                <a:gd name="T1" fmla="*/ 7 h 8"/>
                <a:gd name="T2" fmla="*/ 4 w 152"/>
                <a:gd name="T3" fmla="*/ 8 h 8"/>
                <a:gd name="T4" fmla="*/ 0 w 152"/>
                <a:gd name="T5" fmla="*/ 5 h 8"/>
                <a:gd name="T6" fmla="*/ 4 w 152"/>
                <a:gd name="T7" fmla="*/ 1 h 8"/>
                <a:gd name="T8" fmla="*/ 149 w 152"/>
                <a:gd name="T9" fmla="*/ 0 h 8"/>
                <a:gd name="T10" fmla="*/ 152 w 152"/>
                <a:gd name="T11" fmla="*/ 4 h 8"/>
                <a:gd name="T12" fmla="*/ 149 w 152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8">
                  <a:moveTo>
                    <a:pt x="149" y="7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2" y="2"/>
                    <a:pt x="152" y="4"/>
                  </a:cubicBezTo>
                  <a:cubicBezTo>
                    <a:pt x="152" y="6"/>
                    <a:pt x="151" y="7"/>
                    <a:pt x="149" y="7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xmlns="" id="{90CA1553-F3B5-42A9-B78B-E39BE650F6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6275" y="3943351"/>
              <a:ext cx="461962" cy="280988"/>
            </a:xfrm>
            <a:custGeom>
              <a:avLst/>
              <a:gdLst>
                <a:gd name="T0" fmla="*/ 70 w 140"/>
                <a:gd name="T1" fmla="*/ 85 h 85"/>
                <a:gd name="T2" fmla="*/ 67 w 140"/>
                <a:gd name="T3" fmla="*/ 85 h 85"/>
                <a:gd name="T4" fmla="*/ 0 w 140"/>
                <a:gd name="T5" fmla="*/ 74 h 85"/>
                <a:gd name="T6" fmla="*/ 0 w 140"/>
                <a:gd name="T7" fmla="*/ 72 h 85"/>
                <a:gd name="T8" fmla="*/ 3 w 140"/>
                <a:gd name="T9" fmla="*/ 63 h 85"/>
                <a:gd name="T10" fmla="*/ 13 w 140"/>
                <a:gd name="T11" fmla="*/ 59 h 85"/>
                <a:gd name="T12" fmla="*/ 13 w 140"/>
                <a:gd name="T13" fmla="*/ 54 h 85"/>
                <a:gd name="T14" fmla="*/ 55 w 140"/>
                <a:gd name="T15" fmla="*/ 2 h 85"/>
                <a:gd name="T16" fmla="*/ 83 w 140"/>
                <a:gd name="T17" fmla="*/ 2 h 85"/>
                <a:gd name="T18" fmla="*/ 127 w 140"/>
                <a:gd name="T19" fmla="*/ 54 h 85"/>
                <a:gd name="T20" fmla="*/ 127 w 140"/>
                <a:gd name="T21" fmla="*/ 58 h 85"/>
                <a:gd name="T22" fmla="*/ 137 w 140"/>
                <a:gd name="T23" fmla="*/ 62 h 85"/>
                <a:gd name="T24" fmla="*/ 140 w 140"/>
                <a:gd name="T25" fmla="*/ 71 h 85"/>
                <a:gd name="T26" fmla="*/ 140 w 140"/>
                <a:gd name="T27" fmla="*/ 71 h 85"/>
                <a:gd name="T28" fmla="*/ 140 w 140"/>
                <a:gd name="T29" fmla="*/ 74 h 85"/>
                <a:gd name="T30" fmla="*/ 74 w 140"/>
                <a:gd name="T31" fmla="*/ 85 h 85"/>
                <a:gd name="T32" fmla="*/ 73 w 140"/>
                <a:gd name="T33" fmla="*/ 85 h 85"/>
                <a:gd name="T34" fmla="*/ 70 w 140"/>
                <a:gd name="T35" fmla="*/ 85 h 85"/>
                <a:gd name="T36" fmla="*/ 6 w 140"/>
                <a:gd name="T37" fmla="*/ 72 h 85"/>
                <a:gd name="T38" fmla="*/ 67 w 140"/>
                <a:gd name="T39" fmla="*/ 79 h 85"/>
                <a:gd name="T40" fmla="*/ 73 w 140"/>
                <a:gd name="T41" fmla="*/ 79 h 85"/>
                <a:gd name="T42" fmla="*/ 73 w 140"/>
                <a:gd name="T43" fmla="*/ 79 h 85"/>
                <a:gd name="T44" fmla="*/ 134 w 140"/>
                <a:gd name="T45" fmla="*/ 71 h 85"/>
                <a:gd name="T46" fmla="*/ 132 w 140"/>
                <a:gd name="T47" fmla="*/ 67 h 85"/>
                <a:gd name="T48" fmla="*/ 124 w 140"/>
                <a:gd name="T49" fmla="*/ 65 h 85"/>
                <a:gd name="T50" fmla="*/ 120 w 140"/>
                <a:gd name="T51" fmla="*/ 65 h 85"/>
                <a:gd name="T52" fmla="*/ 120 w 140"/>
                <a:gd name="T53" fmla="*/ 54 h 85"/>
                <a:gd name="T54" fmla="*/ 82 w 140"/>
                <a:gd name="T55" fmla="*/ 9 h 85"/>
                <a:gd name="T56" fmla="*/ 57 w 140"/>
                <a:gd name="T57" fmla="*/ 9 h 85"/>
                <a:gd name="T58" fmla="*/ 20 w 140"/>
                <a:gd name="T59" fmla="*/ 54 h 85"/>
                <a:gd name="T60" fmla="*/ 20 w 140"/>
                <a:gd name="T61" fmla="*/ 66 h 85"/>
                <a:gd name="T62" fmla="*/ 16 w 140"/>
                <a:gd name="T63" fmla="*/ 65 h 85"/>
                <a:gd name="T64" fmla="*/ 8 w 140"/>
                <a:gd name="T65" fmla="*/ 68 h 85"/>
                <a:gd name="T66" fmla="*/ 6 w 140"/>
                <a:gd name="T67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0" h="85">
                  <a:moveTo>
                    <a:pt x="70" y="85"/>
                  </a:moveTo>
                  <a:cubicBezTo>
                    <a:pt x="69" y="85"/>
                    <a:pt x="68" y="85"/>
                    <a:pt x="67" y="85"/>
                  </a:cubicBezTo>
                  <a:cubicBezTo>
                    <a:pt x="11" y="85"/>
                    <a:pt x="2" y="78"/>
                    <a:pt x="0" y="74"/>
                  </a:cubicBezTo>
                  <a:cubicBezTo>
                    <a:pt x="0" y="74"/>
                    <a:pt x="0" y="73"/>
                    <a:pt x="0" y="72"/>
                  </a:cubicBezTo>
                  <a:cubicBezTo>
                    <a:pt x="0" y="69"/>
                    <a:pt x="1" y="66"/>
                    <a:pt x="3" y="63"/>
                  </a:cubicBezTo>
                  <a:cubicBezTo>
                    <a:pt x="5" y="61"/>
                    <a:pt x="9" y="59"/>
                    <a:pt x="13" y="59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24"/>
                    <a:pt x="34" y="6"/>
                    <a:pt x="55" y="2"/>
                  </a:cubicBezTo>
                  <a:cubicBezTo>
                    <a:pt x="61" y="1"/>
                    <a:pt x="73" y="0"/>
                    <a:pt x="83" y="2"/>
                  </a:cubicBezTo>
                  <a:cubicBezTo>
                    <a:pt x="104" y="7"/>
                    <a:pt x="126" y="23"/>
                    <a:pt x="127" y="54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31" y="59"/>
                    <a:pt x="134" y="60"/>
                    <a:pt x="137" y="62"/>
                  </a:cubicBezTo>
                  <a:cubicBezTo>
                    <a:pt x="139" y="65"/>
                    <a:pt x="140" y="68"/>
                    <a:pt x="140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40" y="72"/>
                    <a:pt x="140" y="73"/>
                    <a:pt x="140" y="74"/>
                  </a:cubicBezTo>
                  <a:cubicBezTo>
                    <a:pt x="138" y="77"/>
                    <a:pt x="129" y="84"/>
                    <a:pt x="74" y="85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2" y="85"/>
                    <a:pt x="71" y="85"/>
                    <a:pt x="70" y="85"/>
                  </a:cubicBezTo>
                  <a:close/>
                  <a:moveTo>
                    <a:pt x="6" y="72"/>
                  </a:moveTo>
                  <a:cubicBezTo>
                    <a:pt x="9" y="75"/>
                    <a:pt x="29" y="79"/>
                    <a:pt x="67" y="79"/>
                  </a:cubicBezTo>
                  <a:cubicBezTo>
                    <a:pt x="69" y="79"/>
                    <a:pt x="71" y="79"/>
                    <a:pt x="73" y="79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111" y="78"/>
                    <a:pt x="131" y="74"/>
                    <a:pt x="134" y="71"/>
                  </a:cubicBezTo>
                  <a:cubicBezTo>
                    <a:pt x="133" y="69"/>
                    <a:pt x="133" y="68"/>
                    <a:pt x="132" y="67"/>
                  </a:cubicBezTo>
                  <a:cubicBezTo>
                    <a:pt x="130" y="65"/>
                    <a:pt x="127" y="65"/>
                    <a:pt x="124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54"/>
                    <a:pt x="120" y="54"/>
                    <a:pt x="120" y="54"/>
                  </a:cubicBezTo>
                  <a:cubicBezTo>
                    <a:pt x="120" y="27"/>
                    <a:pt x="100" y="13"/>
                    <a:pt x="82" y="9"/>
                  </a:cubicBezTo>
                  <a:cubicBezTo>
                    <a:pt x="75" y="7"/>
                    <a:pt x="66" y="7"/>
                    <a:pt x="57" y="9"/>
                  </a:cubicBezTo>
                  <a:cubicBezTo>
                    <a:pt x="38" y="12"/>
                    <a:pt x="19" y="27"/>
                    <a:pt x="20" y="54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3" y="65"/>
                    <a:pt x="10" y="66"/>
                    <a:pt x="8" y="68"/>
                  </a:cubicBezTo>
                  <a:cubicBezTo>
                    <a:pt x="7" y="69"/>
                    <a:pt x="6" y="70"/>
                    <a:pt x="6" y="72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xmlns="" id="{A42A1CD6-A2A7-466A-8CD3-9CFBFCB34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300" y="3949701"/>
              <a:ext cx="23812" cy="98425"/>
            </a:xfrm>
            <a:custGeom>
              <a:avLst/>
              <a:gdLst>
                <a:gd name="T0" fmla="*/ 4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4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6" y="30"/>
                    <a:pt x="4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xmlns="" id="{072779DD-C695-4CEC-99BD-44A389BE7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949701"/>
              <a:ext cx="23812" cy="98425"/>
            </a:xfrm>
            <a:custGeom>
              <a:avLst/>
              <a:gdLst>
                <a:gd name="T0" fmla="*/ 3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3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3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5" y="30"/>
                    <a:pt x="3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xmlns="" id="{0D33DAD9-F587-4298-A916-5708D332CBC7}"/>
              </a:ext>
            </a:extLst>
          </p:cNvPr>
          <p:cNvCxnSpPr>
            <a:cxnSpLocks/>
          </p:cNvCxnSpPr>
          <p:nvPr/>
        </p:nvCxnSpPr>
        <p:spPr>
          <a:xfrm flipH="1">
            <a:off x="4871864" y="2996952"/>
            <a:ext cx="576064" cy="792088"/>
          </a:xfrm>
          <a:prstGeom prst="straightConnector1">
            <a:avLst/>
          </a:prstGeom>
          <a:ln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xmlns="" id="{B0E5F476-3781-43EC-8C02-111BD141B2F6}"/>
              </a:ext>
            </a:extLst>
          </p:cNvPr>
          <p:cNvCxnSpPr>
            <a:cxnSpLocks/>
          </p:cNvCxnSpPr>
          <p:nvPr/>
        </p:nvCxnSpPr>
        <p:spPr>
          <a:xfrm>
            <a:off x="6672064" y="2991485"/>
            <a:ext cx="576064" cy="797555"/>
          </a:xfrm>
          <a:prstGeom prst="straightConnector1">
            <a:avLst/>
          </a:prstGeom>
          <a:ln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xmlns="" id="{42A17EEE-5892-40C5-AB7E-46BCBCC27D01}"/>
              </a:ext>
            </a:extLst>
          </p:cNvPr>
          <p:cNvCxnSpPr>
            <a:cxnSpLocks/>
          </p:cNvCxnSpPr>
          <p:nvPr/>
        </p:nvCxnSpPr>
        <p:spPr>
          <a:xfrm flipV="1">
            <a:off x="4931596" y="2991485"/>
            <a:ext cx="516332" cy="707212"/>
          </a:xfrm>
          <a:prstGeom prst="straightConnector1">
            <a:avLst/>
          </a:prstGeom>
          <a:ln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xmlns="" id="{01C25199-5FB5-491E-8D7B-DF46720B558F}"/>
              </a:ext>
            </a:extLst>
          </p:cNvPr>
          <p:cNvCxnSpPr>
            <a:cxnSpLocks/>
          </p:cNvCxnSpPr>
          <p:nvPr/>
        </p:nvCxnSpPr>
        <p:spPr>
          <a:xfrm flipH="1" flipV="1">
            <a:off x="6678202" y="3000054"/>
            <a:ext cx="569926" cy="788986"/>
          </a:xfrm>
          <a:prstGeom prst="straightConnector1">
            <a:avLst/>
          </a:prstGeom>
          <a:ln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574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: Form 13">
            <a:extLst>
              <a:ext uri="{FF2B5EF4-FFF2-40B4-BE49-F238E27FC236}">
                <a16:creationId xmlns:a16="http://schemas.microsoft.com/office/drawing/2014/main" xmlns="" id="{5DF5984E-C21B-4809-8177-AC7C6D1E9AC1}"/>
              </a:ext>
            </a:extLst>
          </p:cNvPr>
          <p:cNvSpPr/>
          <p:nvPr/>
        </p:nvSpPr>
        <p:spPr>
          <a:xfrm>
            <a:off x="4435188" y="2224246"/>
            <a:ext cx="3321622" cy="332162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0933" y="1851069"/>
                </a:moveTo>
                <a:arcTo wR="1660811" hR="1660811" stAng="10405313" swAng="3643773"/>
              </a:path>
            </a:pathLst>
          </a:custGeom>
          <a:noFill/>
          <a:ln w="28575"/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7800A47E-0E7F-43A4-934A-43F962E39A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anzheitliche Kommunikatio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A952329A-1177-48A1-90A8-BE2DBEC5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8C90857D-D052-4DC0-A4D1-1192B65E053D}"/>
              </a:ext>
            </a:extLst>
          </p:cNvPr>
          <p:cNvSpPr/>
          <p:nvPr/>
        </p:nvSpPr>
        <p:spPr>
          <a:xfrm>
            <a:off x="5375920" y="1664804"/>
            <a:ext cx="1512168" cy="1182626"/>
          </a:xfrm>
          <a:custGeom>
            <a:avLst/>
            <a:gdLst>
              <a:gd name="connsiteX0" fmla="*/ 0 w 1917492"/>
              <a:gd name="connsiteY0" fmla="*/ 207732 h 1246369"/>
              <a:gd name="connsiteX1" fmla="*/ 207732 w 1917492"/>
              <a:gd name="connsiteY1" fmla="*/ 0 h 1246369"/>
              <a:gd name="connsiteX2" fmla="*/ 1709760 w 1917492"/>
              <a:gd name="connsiteY2" fmla="*/ 0 h 1246369"/>
              <a:gd name="connsiteX3" fmla="*/ 1917492 w 1917492"/>
              <a:gd name="connsiteY3" fmla="*/ 207732 h 1246369"/>
              <a:gd name="connsiteX4" fmla="*/ 1917492 w 1917492"/>
              <a:gd name="connsiteY4" fmla="*/ 1038637 h 1246369"/>
              <a:gd name="connsiteX5" fmla="*/ 1709760 w 1917492"/>
              <a:gd name="connsiteY5" fmla="*/ 1246369 h 1246369"/>
              <a:gd name="connsiteX6" fmla="*/ 207732 w 1917492"/>
              <a:gd name="connsiteY6" fmla="*/ 1246369 h 1246369"/>
              <a:gd name="connsiteX7" fmla="*/ 0 w 1917492"/>
              <a:gd name="connsiteY7" fmla="*/ 1038637 h 1246369"/>
              <a:gd name="connsiteX8" fmla="*/ 0 w 1917492"/>
              <a:gd name="connsiteY8" fmla="*/ 207732 h 1246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7492" h="1246369">
                <a:moveTo>
                  <a:pt x="0" y="207732"/>
                </a:moveTo>
                <a:cubicBezTo>
                  <a:pt x="0" y="93005"/>
                  <a:pt x="93005" y="0"/>
                  <a:pt x="207732" y="0"/>
                </a:cubicBezTo>
                <a:lnTo>
                  <a:pt x="1709760" y="0"/>
                </a:lnTo>
                <a:cubicBezTo>
                  <a:pt x="1824487" y="0"/>
                  <a:pt x="1917492" y="93005"/>
                  <a:pt x="1917492" y="207732"/>
                </a:cubicBezTo>
                <a:lnTo>
                  <a:pt x="1917492" y="1038637"/>
                </a:lnTo>
                <a:cubicBezTo>
                  <a:pt x="1917492" y="1153364"/>
                  <a:pt x="1824487" y="1246369"/>
                  <a:pt x="1709760" y="1246369"/>
                </a:cubicBezTo>
                <a:lnTo>
                  <a:pt x="207732" y="1246369"/>
                </a:lnTo>
                <a:cubicBezTo>
                  <a:pt x="93005" y="1246369"/>
                  <a:pt x="0" y="1153364"/>
                  <a:pt x="0" y="1038637"/>
                </a:cubicBezTo>
                <a:lnTo>
                  <a:pt x="0" y="207732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863" tIns="220863" rIns="220863" bIns="220863" numCol="1" spcCol="1270" anchor="ctr" anchorCtr="0">
            <a:noAutofit/>
          </a:bodyPr>
          <a:lstStyle/>
          <a:p>
            <a:pPr marL="0" lvl="0" indent="0" algn="ctr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4200" kern="1200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xmlns="" id="{9CD7AA0E-45C6-4C0F-9870-D6E7D2F484AE}"/>
              </a:ext>
            </a:extLst>
          </p:cNvPr>
          <p:cNvSpPr/>
          <p:nvPr/>
        </p:nvSpPr>
        <p:spPr>
          <a:xfrm>
            <a:off x="4435188" y="2224246"/>
            <a:ext cx="3321622" cy="332162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633456" y="314611"/>
                </a:moveTo>
                <a:arcTo wR="1660811" hR="1660811" stAng="18350914" swAng="3643773"/>
              </a:path>
            </a:pathLst>
          </a:custGeom>
          <a:noFill/>
          <a:ln w="28575"/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 dirty="0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xmlns="" id="{7115CB9A-CF7D-42E7-8FDD-5B941B2CC1D1}"/>
              </a:ext>
            </a:extLst>
          </p:cNvPr>
          <p:cNvSpPr/>
          <p:nvPr/>
        </p:nvSpPr>
        <p:spPr>
          <a:xfrm>
            <a:off x="6672064" y="4113076"/>
            <a:ext cx="1428654" cy="1182626"/>
          </a:xfrm>
          <a:custGeom>
            <a:avLst/>
            <a:gdLst>
              <a:gd name="connsiteX0" fmla="*/ 0 w 1917492"/>
              <a:gd name="connsiteY0" fmla="*/ 207732 h 1246369"/>
              <a:gd name="connsiteX1" fmla="*/ 207732 w 1917492"/>
              <a:gd name="connsiteY1" fmla="*/ 0 h 1246369"/>
              <a:gd name="connsiteX2" fmla="*/ 1709760 w 1917492"/>
              <a:gd name="connsiteY2" fmla="*/ 0 h 1246369"/>
              <a:gd name="connsiteX3" fmla="*/ 1917492 w 1917492"/>
              <a:gd name="connsiteY3" fmla="*/ 207732 h 1246369"/>
              <a:gd name="connsiteX4" fmla="*/ 1917492 w 1917492"/>
              <a:gd name="connsiteY4" fmla="*/ 1038637 h 1246369"/>
              <a:gd name="connsiteX5" fmla="*/ 1709760 w 1917492"/>
              <a:gd name="connsiteY5" fmla="*/ 1246369 h 1246369"/>
              <a:gd name="connsiteX6" fmla="*/ 207732 w 1917492"/>
              <a:gd name="connsiteY6" fmla="*/ 1246369 h 1246369"/>
              <a:gd name="connsiteX7" fmla="*/ 0 w 1917492"/>
              <a:gd name="connsiteY7" fmla="*/ 1038637 h 1246369"/>
              <a:gd name="connsiteX8" fmla="*/ 0 w 1917492"/>
              <a:gd name="connsiteY8" fmla="*/ 207732 h 1246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7492" h="1246369">
                <a:moveTo>
                  <a:pt x="0" y="207732"/>
                </a:moveTo>
                <a:cubicBezTo>
                  <a:pt x="0" y="93005"/>
                  <a:pt x="93005" y="0"/>
                  <a:pt x="207732" y="0"/>
                </a:cubicBezTo>
                <a:lnTo>
                  <a:pt x="1709760" y="0"/>
                </a:lnTo>
                <a:cubicBezTo>
                  <a:pt x="1824487" y="0"/>
                  <a:pt x="1917492" y="93005"/>
                  <a:pt x="1917492" y="207732"/>
                </a:cubicBezTo>
                <a:lnTo>
                  <a:pt x="1917492" y="1038637"/>
                </a:lnTo>
                <a:cubicBezTo>
                  <a:pt x="1917492" y="1153364"/>
                  <a:pt x="1824487" y="1246369"/>
                  <a:pt x="1709760" y="1246369"/>
                </a:cubicBezTo>
                <a:lnTo>
                  <a:pt x="207732" y="1246369"/>
                </a:lnTo>
                <a:cubicBezTo>
                  <a:pt x="93005" y="1246369"/>
                  <a:pt x="0" y="1153364"/>
                  <a:pt x="0" y="1038637"/>
                </a:cubicBezTo>
                <a:lnTo>
                  <a:pt x="0" y="207732"/>
                </a:lnTo>
                <a:close/>
              </a:path>
            </a:pathLst>
          </a:custGeom>
          <a:blipFill dpi="0" rotWithShape="1">
            <a:blip r:embed="rId4"/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863" tIns="220863" rIns="220863" bIns="220863" numCol="1" spcCol="1270" anchor="ctr" anchorCtr="0">
            <a:noAutofit/>
          </a:bodyPr>
          <a:lstStyle/>
          <a:p>
            <a:pPr marL="0" lvl="0" indent="0" algn="ctr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4200" kern="1200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xmlns="" id="{F4F3F53F-2959-4E97-9C4C-EA9C0215F3F3}"/>
              </a:ext>
            </a:extLst>
          </p:cNvPr>
          <p:cNvSpPr/>
          <p:nvPr/>
        </p:nvSpPr>
        <p:spPr>
          <a:xfrm>
            <a:off x="4435188" y="2224246"/>
            <a:ext cx="3321622" cy="332162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450059" y="3122105"/>
                </a:moveTo>
                <a:arcTo wR="1660811" hR="1660811" stAng="3697585" swAng="3404831"/>
              </a:path>
            </a:pathLst>
          </a:custGeom>
          <a:noFill/>
          <a:ln w="28575"/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 dirty="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xmlns="" id="{2DC230D8-4D7C-43E6-8CD9-F67CC689847B}"/>
              </a:ext>
            </a:extLst>
          </p:cNvPr>
          <p:cNvSpPr/>
          <p:nvPr/>
        </p:nvSpPr>
        <p:spPr>
          <a:xfrm>
            <a:off x="3899756" y="4149080"/>
            <a:ext cx="1716684" cy="1182626"/>
          </a:xfrm>
          <a:custGeom>
            <a:avLst/>
            <a:gdLst>
              <a:gd name="connsiteX0" fmla="*/ 0 w 1917492"/>
              <a:gd name="connsiteY0" fmla="*/ 207732 h 1246369"/>
              <a:gd name="connsiteX1" fmla="*/ 207732 w 1917492"/>
              <a:gd name="connsiteY1" fmla="*/ 0 h 1246369"/>
              <a:gd name="connsiteX2" fmla="*/ 1709760 w 1917492"/>
              <a:gd name="connsiteY2" fmla="*/ 0 h 1246369"/>
              <a:gd name="connsiteX3" fmla="*/ 1917492 w 1917492"/>
              <a:gd name="connsiteY3" fmla="*/ 207732 h 1246369"/>
              <a:gd name="connsiteX4" fmla="*/ 1917492 w 1917492"/>
              <a:gd name="connsiteY4" fmla="*/ 1038637 h 1246369"/>
              <a:gd name="connsiteX5" fmla="*/ 1709760 w 1917492"/>
              <a:gd name="connsiteY5" fmla="*/ 1246369 h 1246369"/>
              <a:gd name="connsiteX6" fmla="*/ 207732 w 1917492"/>
              <a:gd name="connsiteY6" fmla="*/ 1246369 h 1246369"/>
              <a:gd name="connsiteX7" fmla="*/ 0 w 1917492"/>
              <a:gd name="connsiteY7" fmla="*/ 1038637 h 1246369"/>
              <a:gd name="connsiteX8" fmla="*/ 0 w 1917492"/>
              <a:gd name="connsiteY8" fmla="*/ 207732 h 1246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7492" h="1246369">
                <a:moveTo>
                  <a:pt x="0" y="207732"/>
                </a:moveTo>
                <a:cubicBezTo>
                  <a:pt x="0" y="93005"/>
                  <a:pt x="93005" y="0"/>
                  <a:pt x="207732" y="0"/>
                </a:cubicBezTo>
                <a:lnTo>
                  <a:pt x="1709760" y="0"/>
                </a:lnTo>
                <a:cubicBezTo>
                  <a:pt x="1824487" y="0"/>
                  <a:pt x="1917492" y="93005"/>
                  <a:pt x="1917492" y="207732"/>
                </a:cubicBezTo>
                <a:lnTo>
                  <a:pt x="1917492" y="1038637"/>
                </a:lnTo>
                <a:cubicBezTo>
                  <a:pt x="1917492" y="1153364"/>
                  <a:pt x="1824487" y="1246369"/>
                  <a:pt x="1709760" y="1246369"/>
                </a:cubicBezTo>
                <a:lnTo>
                  <a:pt x="207732" y="1246369"/>
                </a:lnTo>
                <a:cubicBezTo>
                  <a:pt x="93005" y="1246369"/>
                  <a:pt x="0" y="1153364"/>
                  <a:pt x="0" y="1038637"/>
                </a:cubicBezTo>
                <a:lnTo>
                  <a:pt x="0" y="207732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863" tIns="220863" rIns="220863" bIns="220863" numCol="1" spcCol="1270" anchor="ctr" anchorCtr="0">
            <a:noAutofit/>
          </a:bodyPr>
          <a:lstStyle/>
          <a:p>
            <a:pPr marL="0" lvl="0" indent="0" algn="ctr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4200" kern="120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CFAE1A05-2CD0-485A-BC29-5A4E684952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CAE49839-25A7-44C7-8D96-34B8B5D211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xmlns="" id="{A819C150-98FF-4A08-B184-DF004334180F}"/>
              </a:ext>
            </a:extLst>
          </p:cNvPr>
          <p:cNvSpPr txBox="1"/>
          <p:nvPr/>
        </p:nvSpPr>
        <p:spPr>
          <a:xfrm>
            <a:off x="2601144" y="1837903"/>
            <a:ext cx="2355133" cy="523220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Intelligentes Vorgangs- </a:t>
            </a:r>
          </a:p>
          <a:p>
            <a:pPr algn="ctr"/>
            <a:r>
              <a:rPr lang="de-DE" sz="1400" dirty="0" err="1">
                <a:solidFill>
                  <a:schemeClr val="accent1"/>
                </a:solidFill>
              </a:rPr>
              <a:t>management</a:t>
            </a:r>
            <a:endParaRPr lang="de-DE" sz="1400" dirty="0">
              <a:solidFill>
                <a:schemeClr val="accent1"/>
              </a:solidFill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xmlns="" id="{2E79B646-E08C-4F25-B50B-AE7DDFCB9AA7}"/>
              </a:ext>
            </a:extLst>
          </p:cNvPr>
          <p:cNvGrpSpPr/>
          <p:nvPr/>
        </p:nvGrpSpPr>
        <p:grpSpPr>
          <a:xfrm>
            <a:off x="6960096" y="1664804"/>
            <a:ext cx="1455848" cy="769441"/>
            <a:chOff x="2189977" y="1383442"/>
            <a:chExt cx="1455848" cy="769441"/>
          </a:xfrm>
          <a:effectLst/>
        </p:grpSpPr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xmlns="" id="{58C7050B-A62E-4E76-BA4F-24F0625B6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658029" y="1383442"/>
              <a:ext cx="502772" cy="502772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xmlns="" id="{B2F28196-0814-402F-9A0C-817920C35473}"/>
                </a:ext>
              </a:extLst>
            </p:cNvPr>
            <p:cNvSpPr txBox="1"/>
            <p:nvPr/>
          </p:nvSpPr>
          <p:spPr>
            <a:xfrm>
              <a:off x="2189977" y="1845106"/>
              <a:ext cx="145584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>
                  <a:solidFill>
                    <a:schemeClr val="bg2"/>
                  </a:solidFill>
                </a:rPr>
                <a:t>Hausverwalter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xmlns="" id="{BC34EA05-15D9-42FC-821B-AE3FE69A31AF}"/>
              </a:ext>
            </a:extLst>
          </p:cNvPr>
          <p:cNvGrpSpPr/>
          <p:nvPr/>
        </p:nvGrpSpPr>
        <p:grpSpPr>
          <a:xfrm>
            <a:off x="3321415" y="5301208"/>
            <a:ext cx="2018501" cy="792088"/>
            <a:chOff x="486955" y="5418751"/>
            <a:chExt cx="2018501" cy="792088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xmlns="" id="{28A6964F-98FB-4AE0-9C72-60E5AB7ED5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07035" y="5418751"/>
              <a:ext cx="593564" cy="593564"/>
            </a:xfrm>
            <a:prstGeom prst="rect">
              <a:avLst/>
            </a:prstGeom>
          </p:spPr>
        </p:pic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xmlns="" id="{C0C82929-757A-4F07-ADB4-AD8D3D31E1A9}"/>
                </a:ext>
              </a:extLst>
            </p:cNvPr>
            <p:cNvSpPr txBox="1"/>
            <p:nvPr/>
          </p:nvSpPr>
          <p:spPr>
            <a:xfrm>
              <a:off x="486955" y="5903062"/>
              <a:ext cx="201850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>
                  <a:solidFill>
                    <a:schemeClr val="bg2"/>
                  </a:solidFill>
                </a:rPr>
                <a:t>Mieter &amp; Eigentümer</a:t>
              </a:r>
            </a:p>
          </p:txBody>
        </p:sp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xmlns="" id="{12084672-560D-4E18-9C61-F64D09929C80}"/>
              </a:ext>
            </a:extLst>
          </p:cNvPr>
          <p:cNvSpPr txBox="1"/>
          <p:nvPr/>
        </p:nvSpPr>
        <p:spPr>
          <a:xfrm>
            <a:off x="2261332" y="4725144"/>
            <a:ext cx="1479892" cy="523220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Service-App &amp;</a:t>
            </a:r>
          </a:p>
          <a:p>
            <a:pPr algn="ctr"/>
            <a:r>
              <a:rPr lang="de-DE" sz="1400" dirty="0">
                <a:solidFill>
                  <a:schemeClr val="accent1"/>
                </a:solidFill>
              </a:rPr>
              <a:t>Kundenportal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xmlns="" id="{9678E2D3-1FF5-4E28-9813-22A86E930714}"/>
              </a:ext>
            </a:extLst>
          </p:cNvPr>
          <p:cNvSpPr txBox="1"/>
          <p:nvPr/>
        </p:nvSpPr>
        <p:spPr>
          <a:xfrm>
            <a:off x="8485024" y="4689140"/>
            <a:ext cx="1864613" cy="307777"/>
          </a:xfrm>
          <a:prstGeom prst="rect">
            <a:avLst/>
          </a:prstGeom>
          <a:solidFill>
            <a:schemeClr val="accent6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1"/>
                </a:solidFill>
              </a:rPr>
              <a:t>Dienstleisterportal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xmlns="" id="{54E6AAE0-EBF2-430C-8DE8-45C4F648A24C}"/>
              </a:ext>
            </a:extLst>
          </p:cNvPr>
          <p:cNvSpPr txBox="1"/>
          <p:nvPr/>
        </p:nvSpPr>
        <p:spPr>
          <a:xfrm>
            <a:off x="7248128" y="5797810"/>
            <a:ext cx="1289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chemeClr val="bg2"/>
                </a:solidFill>
              </a:rPr>
              <a:t>Dienstleister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xmlns="" id="{0760BB44-EA3F-426C-BB85-327C1FF9E647}"/>
              </a:ext>
            </a:extLst>
          </p:cNvPr>
          <p:cNvGrpSpPr>
            <a:grpSpLocks noChangeAspect="1"/>
          </p:cNvGrpSpPr>
          <p:nvPr/>
        </p:nvGrpSpPr>
        <p:grpSpPr>
          <a:xfrm>
            <a:off x="7660870" y="5373216"/>
            <a:ext cx="415350" cy="460598"/>
            <a:chOff x="3048000" y="3943351"/>
            <a:chExt cx="808038" cy="893762"/>
          </a:xfrm>
        </p:grpSpPr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xmlns="" id="{9BA81FA2-BBBD-4F6F-91BC-581F4FB92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013" y="4227513"/>
              <a:ext cx="342900" cy="260350"/>
            </a:xfrm>
            <a:custGeom>
              <a:avLst/>
              <a:gdLst>
                <a:gd name="T0" fmla="*/ 53 w 104"/>
                <a:gd name="T1" fmla="*/ 78 h 79"/>
                <a:gd name="T2" fmla="*/ 0 w 104"/>
                <a:gd name="T3" fmla="*/ 4 h 79"/>
                <a:gd name="T4" fmla="*/ 3 w 104"/>
                <a:gd name="T5" fmla="*/ 1 h 79"/>
                <a:gd name="T6" fmla="*/ 3 w 104"/>
                <a:gd name="T7" fmla="*/ 1 h 79"/>
                <a:gd name="T8" fmla="*/ 7 w 104"/>
                <a:gd name="T9" fmla="*/ 4 h 79"/>
                <a:gd name="T10" fmla="*/ 52 w 104"/>
                <a:gd name="T11" fmla="*/ 71 h 79"/>
                <a:gd name="T12" fmla="*/ 97 w 104"/>
                <a:gd name="T13" fmla="*/ 4 h 79"/>
                <a:gd name="T14" fmla="*/ 101 w 104"/>
                <a:gd name="T15" fmla="*/ 0 h 79"/>
                <a:gd name="T16" fmla="*/ 101 w 104"/>
                <a:gd name="T17" fmla="*/ 0 h 79"/>
                <a:gd name="T18" fmla="*/ 104 w 104"/>
                <a:gd name="T19" fmla="*/ 4 h 79"/>
                <a:gd name="T20" fmla="*/ 53 w 104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79">
                  <a:moveTo>
                    <a:pt x="53" y="78"/>
                  </a:moveTo>
                  <a:cubicBezTo>
                    <a:pt x="24" y="79"/>
                    <a:pt x="0" y="45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1"/>
                    <a:pt x="7" y="2"/>
                    <a:pt x="7" y="4"/>
                  </a:cubicBezTo>
                  <a:cubicBezTo>
                    <a:pt x="7" y="41"/>
                    <a:pt x="28" y="72"/>
                    <a:pt x="52" y="71"/>
                  </a:cubicBezTo>
                  <a:cubicBezTo>
                    <a:pt x="77" y="71"/>
                    <a:pt x="97" y="41"/>
                    <a:pt x="97" y="4"/>
                  </a:cubicBezTo>
                  <a:cubicBezTo>
                    <a:pt x="97" y="2"/>
                    <a:pt x="99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3" y="0"/>
                    <a:pt x="104" y="2"/>
                    <a:pt x="104" y="4"/>
                  </a:cubicBezTo>
                  <a:cubicBezTo>
                    <a:pt x="104" y="45"/>
                    <a:pt x="81" y="78"/>
                    <a:pt x="53" y="78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xmlns="" id="{38BA1967-CC7B-49C9-8A1B-FCACE79B0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0" y="4516438"/>
              <a:ext cx="168275" cy="320675"/>
            </a:xfrm>
            <a:custGeom>
              <a:avLst/>
              <a:gdLst>
                <a:gd name="T0" fmla="*/ 51 w 51"/>
                <a:gd name="T1" fmla="*/ 96 h 97"/>
                <a:gd name="T2" fmla="*/ 0 w 51"/>
                <a:gd name="T3" fmla="*/ 97 h 97"/>
                <a:gd name="T4" fmla="*/ 8 w 51"/>
                <a:gd name="T5" fmla="*/ 29 h 97"/>
                <a:gd name="T6" fmla="*/ 15 w 51"/>
                <a:gd name="T7" fmla="*/ 15 h 97"/>
                <a:gd name="T8" fmla="*/ 24 w 51"/>
                <a:gd name="T9" fmla="*/ 10 h 97"/>
                <a:gd name="T10" fmla="*/ 28 w 51"/>
                <a:gd name="T11" fmla="*/ 9 h 97"/>
                <a:gd name="T12" fmla="*/ 28 w 51"/>
                <a:gd name="T13" fmla="*/ 9 h 97"/>
                <a:gd name="T14" fmla="*/ 47 w 51"/>
                <a:gd name="T15" fmla="*/ 0 h 97"/>
                <a:gd name="T16" fmla="*/ 51 w 51"/>
                <a:gd name="T17" fmla="*/ 96 h 97"/>
                <a:gd name="T18" fmla="*/ 8 w 51"/>
                <a:gd name="T19" fmla="*/ 90 h 97"/>
                <a:gd name="T20" fmla="*/ 44 w 51"/>
                <a:gd name="T21" fmla="*/ 89 h 97"/>
                <a:gd name="T22" fmla="*/ 40 w 51"/>
                <a:gd name="T23" fmla="*/ 11 h 97"/>
                <a:gd name="T24" fmla="*/ 31 w 51"/>
                <a:gd name="T25" fmla="*/ 15 h 97"/>
                <a:gd name="T26" fmla="*/ 26 w 51"/>
                <a:gd name="T27" fmla="*/ 17 h 97"/>
                <a:gd name="T28" fmla="*/ 20 w 51"/>
                <a:gd name="T29" fmla="*/ 20 h 97"/>
                <a:gd name="T30" fmla="*/ 15 w 51"/>
                <a:gd name="T31" fmla="*/ 30 h 97"/>
                <a:gd name="T32" fmla="*/ 8 w 51"/>
                <a:gd name="T33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97">
                  <a:moveTo>
                    <a:pt x="51" y="96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4"/>
                    <a:pt x="11" y="19"/>
                    <a:pt x="15" y="15"/>
                  </a:cubicBezTo>
                  <a:cubicBezTo>
                    <a:pt x="17" y="12"/>
                    <a:pt x="21" y="11"/>
                    <a:pt x="24" y="10"/>
                  </a:cubicBezTo>
                  <a:cubicBezTo>
                    <a:pt x="25" y="10"/>
                    <a:pt x="27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47" y="0"/>
                    <a:pt x="47" y="0"/>
                    <a:pt x="47" y="0"/>
                  </a:cubicBezTo>
                  <a:lnTo>
                    <a:pt x="51" y="96"/>
                  </a:lnTo>
                  <a:close/>
                  <a:moveTo>
                    <a:pt x="8" y="90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7" y="16"/>
                    <a:pt x="26" y="17"/>
                  </a:cubicBezTo>
                  <a:cubicBezTo>
                    <a:pt x="23" y="18"/>
                    <a:pt x="21" y="18"/>
                    <a:pt x="20" y="20"/>
                  </a:cubicBezTo>
                  <a:cubicBezTo>
                    <a:pt x="17" y="22"/>
                    <a:pt x="16" y="26"/>
                    <a:pt x="15" y="30"/>
                  </a:cubicBezTo>
                  <a:lnTo>
                    <a:pt x="8" y="90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xmlns="" id="{096DDEC4-B2B3-4E7C-B838-341B30F54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4588" y="4513263"/>
              <a:ext cx="171450" cy="317500"/>
            </a:xfrm>
            <a:custGeom>
              <a:avLst/>
              <a:gdLst>
                <a:gd name="T0" fmla="*/ 52 w 52"/>
                <a:gd name="T1" fmla="*/ 96 h 96"/>
                <a:gd name="T2" fmla="*/ 0 w 52"/>
                <a:gd name="T3" fmla="*/ 96 h 96"/>
                <a:gd name="T4" fmla="*/ 2 w 52"/>
                <a:gd name="T5" fmla="*/ 0 h 96"/>
                <a:gd name="T6" fmla="*/ 22 w 52"/>
                <a:gd name="T7" fmla="*/ 8 h 96"/>
                <a:gd name="T8" fmla="*/ 42 w 52"/>
                <a:gd name="T9" fmla="*/ 29 h 96"/>
                <a:gd name="T10" fmla="*/ 52 w 52"/>
                <a:gd name="T11" fmla="*/ 96 h 96"/>
                <a:gd name="T12" fmla="*/ 7 w 52"/>
                <a:gd name="T13" fmla="*/ 89 h 96"/>
                <a:gd name="T14" fmla="*/ 44 w 52"/>
                <a:gd name="T15" fmla="*/ 89 h 96"/>
                <a:gd name="T16" fmla="*/ 35 w 52"/>
                <a:gd name="T17" fmla="*/ 30 h 96"/>
                <a:gd name="T18" fmla="*/ 20 w 52"/>
                <a:gd name="T19" fmla="*/ 15 h 96"/>
                <a:gd name="T20" fmla="*/ 9 w 52"/>
                <a:gd name="T21" fmla="*/ 11 h 96"/>
                <a:gd name="T22" fmla="*/ 7 w 52"/>
                <a:gd name="T2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96">
                  <a:moveTo>
                    <a:pt x="52" y="96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32" y="12"/>
                    <a:pt x="41" y="17"/>
                    <a:pt x="42" y="29"/>
                  </a:cubicBezTo>
                  <a:lnTo>
                    <a:pt x="52" y="96"/>
                  </a:lnTo>
                  <a:close/>
                  <a:moveTo>
                    <a:pt x="7" y="89"/>
                  </a:moveTo>
                  <a:cubicBezTo>
                    <a:pt x="44" y="89"/>
                    <a:pt x="44" y="89"/>
                    <a:pt x="44" y="89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4" y="22"/>
                    <a:pt x="29" y="18"/>
                    <a:pt x="20" y="15"/>
                  </a:cubicBezTo>
                  <a:cubicBezTo>
                    <a:pt x="9" y="11"/>
                    <a:pt x="9" y="11"/>
                    <a:pt x="9" y="11"/>
                  </a:cubicBezTo>
                  <a:lnTo>
                    <a:pt x="7" y="89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xmlns="" id="{36F00154-E869-4999-A995-82ADAF28C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463" y="4464051"/>
              <a:ext cx="511175" cy="250825"/>
            </a:xfrm>
            <a:custGeom>
              <a:avLst/>
              <a:gdLst>
                <a:gd name="T0" fmla="*/ 125 w 155"/>
                <a:gd name="T1" fmla="*/ 76 h 76"/>
                <a:gd name="T2" fmla="*/ 31 w 155"/>
                <a:gd name="T3" fmla="*/ 76 h 76"/>
                <a:gd name="T4" fmla="*/ 27 w 155"/>
                <a:gd name="T5" fmla="*/ 11 h 76"/>
                <a:gd name="T6" fmla="*/ 6 w 155"/>
                <a:gd name="T7" fmla="*/ 22 h 76"/>
                <a:gd name="T8" fmla="*/ 1 w 155"/>
                <a:gd name="T9" fmla="*/ 21 h 76"/>
                <a:gd name="T10" fmla="*/ 3 w 155"/>
                <a:gd name="T11" fmla="*/ 16 h 76"/>
                <a:gd name="T12" fmla="*/ 33 w 155"/>
                <a:gd name="T13" fmla="*/ 0 h 76"/>
                <a:gd name="T14" fmla="*/ 37 w 155"/>
                <a:gd name="T15" fmla="*/ 69 h 76"/>
                <a:gd name="T16" fmla="*/ 119 w 155"/>
                <a:gd name="T17" fmla="*/ 69 h 76"/>
                <a:gd name="T18" fmla="*/ 122 w 155"/>
                <a:gd name="T19" fmla="*/ 0 h 76"/>
                <a:gd name="T20" fmla="*/ 152 w 155"/>
                <a:gd name="T21" fmla="*/ 15 h 76"/>
                <a:gd name="T22" fmla="*/ 154 w 155"/>
                <a:gd name="T23" fmla="*/ 20 h 76"/>
                <a:gd name="T24" fmla="*/ 149 w 155"/>
                <a:gd name="T25" fmla="*/ 21 h 76"/>
                <a:gd name="T26" fmla="*/ 129 w 155"/>
                <a:gd name="T27" fmla="*/ 11 h 76"/>
                <a:gd name="T28" fmla="*/ 125 w 155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5" h="76">
                  <a:moveTo>
                    <a:pt x="125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4" y="23"/>
                    <a:pt x="2" y="23"/>
                    <a:pt x="1" y="21"/>
                  </a:cubicBezTo>
                  <a:cubicBezTo>
                    <a:pt x="0" y="19"/>
                    <a:pt x="1" y="17"/>
                    <a:pt x="3" y="16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69"/>
                    <a:pt x="37" y="69"/>
                    <a:pt x="37" y="69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4" y="16"/>
                    <a:pt x="155" y="18"/>
                    <a:pt x="154" y="20"/>
                  </a:cubicBezTo>
                  <a:cubicBezTo>
                    <a:pt x="153" y="22"/>
                    <a:pt x="151" y="22"/>
                    <a:pt x="149" y="21"/>
                  </a:cubicBezTo>
                  <a:cubicBezTo>
                    <a:pt x="129" y="11"/>
                    <a:pt x="129" y="11"/>
                    <a:pt x="129" y="11"/>
                  </a:cubicBezTo>
                  <a:lnTo>
                    <a:pt x="125" y="76"/>
                  </a:ln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xmlns="" id="{268B5FAF-789F-44BB-A0A4-5DA9999C1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813" y="4806951"/>
              <a:ext cx="501650" cy="26988"/>
            </a:xfrm>
            <a:custGeom>
              <a:avLst/>
              <a:gdLst>
                <a:gd name="T0" fmla="*/ 149 w 152"/>
                <a:gd name="T1" fmla="*/ 7 h 8"/>
                <a:gd name="T2" fmla="*/ 4 w 152"/>
                <a:gd name="T3" fmla="*/ 8 h 8"/>
                <a:gd name="T4" fmla="*/ 0 w 152"/>
                <a:gd name="T5" fmla="*/ 5 h 8"/>
                <a:gd name="T6" fmla="*/ 4 w 152"/>
                <a:gd name="T7" fmla="*/ 1 h 8"/>
                <a:gd name="T8" fmla="*/ 149 w 152"/>
                <a:gd name="T9" fmla="*/ 0 h 8"/>
                <a:gd name="T10" fmla="*/ 152 w 152"/>
                <a:gd name="T11" fmla="*/ 4 h 8"/>
                <a:gd name="T12" fmla="*/ 149 w 152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8">
                  <a:moveTo>
                    <a:pt x="149" y="7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0" y="0"/>
                    <a:pt x="152" y="2"/>
                    <a:pt x="152" y="4"/>
                  </a:cubicBezTo>
                  <a:cubicBezTo>
                    <a:pt x="152" y="6"/>
                    <a:pt x="151" y="7"/>
                    <a:pt x="149" y="7"/>
                  </a:cubicBezTo>
                  <a:close/>
                </a:path>
              </a:pathLst>
            </a:custGeom>
            <a:solidFill>
              <a:srgbClr val="465768"/>
            </a:solidFill>
            <a:ln w="6350" cap="flat" cmpd="thinThick">
              <a:solidFill>
                <a:srgbClr val="46576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xmlns="" id="{90CA1553-F3B5-42A9-B78B-E39BE650F6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6275" y="3943351"/>
              <a:ext cx="461962" cy="280988"/>
            </a:xfrm>
            <a:custGeom>
              <a:avLst/>
              <a:gdLst>
                <a:gd name="T0" fmla="*/ 70 w 140"/>
                <a:gd name="T1" fmla="*/ 85 h 85"/>
                <a:gd name="T2" fmla="*/ 67 w 140"/>
                <a:gd name="T3" fmla="*/ 85 h 85"/>
                <a:gd name="T4" fmla="*/ 0 w 140"/>
                <a:gd name="T5" fmla="*/ 74 h 85"/>
                <a:gd name="T6" fmla="*/ 0 w 140"/>
                <a:gd name="T7" fmla="*/ 72 h 85"/>
                <a:gd name="T8" fmla="*/ 3 w 140"/>
                <a:gd name="T9" fmla="*/ 63 h 85"/>
                <a:gd name="T10" fmla="*/ 13 w 140"/>
                <a:gd name="T11" fmla="*/ 59 h 85"/>
                <a:gd name="T12" fmla="*/ 13 w 140"/>
                <a:gd name="T13" fmla="*/ 54 h 85"/>
                <a:gd name="T14" fmla="*/ 55 w 140"/>
                <a:gd name="T15" fmla="*/ 2 h 85"/>
                <a:gd name="T16" fmla="*/ 83 w 140"/>
                <a:gd name="T17" fmla="*/ 2 h 85"/>
                <a:gd name="T18" fmla="*/ 127 w 140"/>
                <a:gd name="T19" fmla="*/ 54 h 85"/>
                <a:gd name="T20" fmla="*/ 127 w 140"/>
                <a:gd name="T21" fmla="*/ 58 h 85"/>
                <a:gd name="T22" fmla="*/ 137 w 140"/>
                <a:gd name="T23" fmla="*/ 62 h 85"/>
                <a:gd name="T24" fmla="*/ 140 w 140"/>
                <a:gd name="T25" fmla="*/ 71 h 85"/>
                <a:gd name="T26" fmla="*/ 140 w 140"/>
                <a:gd name="T27" fmla="*/ 71 h 85"/>
                <a:gd name="T28" fmla="*/ 140 w 140"/>
                <a:gd name="T29" fmla="*/ 74 h 85"/>
                <a:gd name="T30" fmla="*/ 74 w 140"/>
                <a:gd name="T31" fmla="*/ 85 h 85"/>
                <a:gd name="T32" fmla="*/ 73 w 140"/>
                <a:gd name="T33" fmla="*/ 85 h 85"/>
                <a:gd name="T34" fmla="*/ 70 w 140"/>
                <a:gd name="T35" fmla="*/ 85 h 85"/>
                <a:gd name="T36" fmla="*/ 6 w 140"/>
                <a:gd name="T37" fmla="*/ 72 h 85"/>
                <a:gd name="T38" fmla="*/ 67 w 140"/>
                <a:gd name="T39" fmla="*/ 79 h 85"/>
                <a:gd name="T40" fmla="*/ 73 w 140"/>
                <a:gd name="T41" fmla="*/ 79 h 85"/>
                <a:gd name="T42" fmla="*/ 73 w 140"/>
                <a:gd name="T43" fmla="*/ 79 h 85"/>
                <a:gd name="T44" fmla="*/ 134 w 140"/>
                <a:gd name="T45" fmla="*/ 71 h 85"/>
                <a:gd name="T46" fmla="*/ 132 w 140"/>
                <a:gd name="T47" fmla="*/ 67 h 85"/>
                <a:gd name="T48" fmla="*/ 124 w 140"/>
                <a:gd name="T49" fmla="*/ 65 h 85"/>
                <a:gd name="T50" fmla="*/ 120 w 140"/>
                <a:gd name="T51" fmla="*/ 65 h 85"/>
                <a:gd name="T52" fmla="*/ 120 w 140"/>
                <a:gd name="T53" fmla="*/ 54 h 85"/>
                <a:gd name="T54" fmla="*/ 82 w 140"/>
                <a:gd name="T55" fmla="*/ 9 h 85"/>
                <a:gd name="T56" fmla="*/ 57 w 140"/>
                <a:gd name="T57" fmla="*/ 9 h 85"/>
                <a:gd name="T58" fmla="*/ 20 w 140"/>
                <a:gd name="T59" fmla="*/ 54 h 85"/>
                <a:gd name="T60" fmla="*/ 20 w 140"/>
                <a:gd name="T61" fmla="*/ 66 h 85"/>
                <a:gd name="T62" fmla="*/ 16 w 140"/>
                <a:gd name="T63" fmla="*/ 65 h 85"/>
                <a:gd name="T64" fmla="*/ 8 w 140"/>
                <a:gd name="T65" fmla="*/ 68 h 85"/>
                <a:gd name="T66" fmla="*/ 6 w 140"/>
                <a:gd name="T67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0" h="85">
                  <a:moveTo>
                    <a:pt x="70" y="85"/>
                  </a:moveTo>
                  <a:cubicBezTo>
                    <a:pt x="69" y="85"/>
                    <a:pt x="68" y="85"/>
                    <a:pt x="67" y="85"/>
                  </a:cubicBezTo>
                  <a:cubicBezTo>
                    <a:pt x="11" y="85"/>
                    <a:pt x="2" y="78"/>
                    <a:pt x="0" y="74"/>
                  </a:cubicBezTo>
                  <a:cubicBezTo>
                    <a:pt x="0" y="74"/>
                    <a:pt x="0" y="73"/>
                    <a:pt x="0" y="72"/>
                  </a:cubicBezTo>
                  <a:cubicBezTo>
                    <a:pt x="0" y="69"/>
                    <a:pt x="1" y="66"/>
                    <a:pt x="3" y="63"/>
                  </a:cubicBezTo>
                  <a:cubicBezTo>
                    <a:pt x="5" y="61"/>
                    <a:pt x="9" y="59"/>
                    <a:pt x="13" y="59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24"/>
                    <a:pt x="34" y="6"/>
                    <a:pt x="55" y="2"/>
                  </a:cubicBezTo>
                  <a:cubicBezTo>
                    <a:pt x="61" y="1"/>
                    <a:pt x="73" y="0"/>
                    <a:pt x="83" y="2"/>
                  </a:cubicBezTo>
                  <a:cubicBezTo>
                    <a:pt x="104" y="7"/>
                    <a:pt x="126" y="23"/>
                    <a:pt x="127" y="54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31" y="59"/>
                    <a:pt x="134" y="60"/>
                    <a:pt x="137" y="62"/>
                  </a:cubicBezTo>
                  <a:cubicBezTo>
                    <a:pt x="139" y="65"/>
                    <a:pt x="140" y="68"/>
                    <a:pt x="140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40" y="72"/>
                    <a:pt x="140" y="73"/>
                    <a:pt x="140" y="74"/>
                  </a:cubicBezTo>
                  <a:cubicBezTo>
                    <a:pt x="138" y="77"/>
                    <a:pt x="129" y="84"/>
                    <a:pt x="74" y="85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2" y="85"/>
                    <a:pt x="71" y="85"/>
                    <a:pt x="70" y="85"/>
                  </a:cubicBezTo>
                  <a:close/>
                  <a:moveTo>
                    <a:pt x="6" y="72"/>
                  </a:moveTo>
                  <a:cubicBezTo>
                    <a:pt x="9" y="75"/>
                    <a:pt x="29" y="79"/>
                    <a:pt x="67" y="79"/>
                  </a:cubicBezTo>
                  <a:cubicBezTo>
                    <a:pt x="69" y="79"/>
                    <a:pt x="71" y="79"/>
                    <a:pt x="73" y="79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111" y="78"/>
                    <a:pt x="131" y="74"/>
                    <a:pt x="134" y="71"/>
                  </a:cubicBezTo>
                  <a:cubicBezTo>
                    <a:pt x="133" y="69"/>
                    <a:pt x="133" y="68"/>
                    <a:pt x="132" y="67"/>
                  </a:cubicBezTo>
                  <a:cubicBezTo>
                    <a:pt x="130" y="65"/>
                    <a:pt x="127" y="65"/>
                    <a:pt x="124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54"/>
                    <a:pt x="120" y="54"/>
                    <a:pt x="120" y="54"/>
                  </a:cubicBezTo>
                  <a:cubicBezTo>
                    <a:pt x="120" y="27"/>
                    <a:pt x="100" y="13"/>
                    <a:pt x="82" y="9"/>
                  </a:cubicBezTo>
                  <a:cubicBezTo>
                    <a:pt x="75" y="7"/>
                    <a:pt x="66" y="7"/>
                    <a:pt x="57" y="9"/>
                  </a:cubicBezTo>
                  <a:cubicBezTo>
                    <a:pt x="38" y="12"/>
                    <a:pt x="19" y="27"/>
                    <a:pt x="20" y="54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3" y="65"/>
                    <a:pt x="10" y="66"/>
                    <a:pt x="8" y="68"/>
                  </a:cubicBezTo>
                  <a:cubicBezTo>
                    <a:pt x="7" y="69"/>
                    <a:pt x="6" y="70"/>
                    <a:pt x="6" y="72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xmlns="" id="{A42A1CD6-A2A7-466A-8CD3-9CFBFCB34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6300" y="3949701"/>
              <a:ext cx="23812" cy="98425"/>
            </a:xfrm>
            <a:custGeom>
              <a:avLst/>
              <a:gdLst>
                <a:gd name="T0" fmla="*/ 4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4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6" y="30"/>
                    <a:pt x="4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xmlns="" id="{072779DD-C695-4CEC-99BD-44A389BE7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9163" y="3949701"/>
              <a:ext cx="23812" cy="98425"/>
            </a:xfrm>
            <a:custGeom>
              <a:avLst/>
              <a:gdLst>
                <a:gd name="T0" fmla="*/ 3 w 7"/>
                <a:gd name="T1" fmla="*/ 30 h 30"/>
                <a:gd name="T2" fmla="*/ 0 w 7"/>
                <a:gd name="T3" fmla="*/ 26 h 30"/>
                <a:gd name="T4" fmla="*/ 0 w 7"/>
                <a:gd name="T5" fmla="*/ 3 h 30"/>
                <a:gd name="T6" fmla="*/ 3 w 7"/>
                <a:gd name="T7" fmla="*/ 0 h 30"/>
                <a:gd name="T8" fmla="*/ 7 w 7"/>
                <a:gd name="T9" fmla="*/ 3 h 30"/>
                <a:gd name="T10" fmla="*/ 7 w 7"/>
                <a:gd name="T11" fmla="*/ 26 h 30"/>
                <a:gd name="T12" fmla="*/ 3 w 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0">
                  <a:moveTo>
                    <a:pt x="3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8"/>
                    <a:pt x="5" y="30"/>
                    <a:pt x="3" y="30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thinThick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C5064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pic>
        <p:nvPicPr>
          <p:cNvPr id="40" name="Grafik 39">
            <a:extLst>
              <a:ext uri="{FF2B5EF4-FFF2-40B4-BE49-F238E27FC236}">
                <a16:creationId xmlns:a16="http://schemas.microsoft.com/office/drawing/2014/main" xmlns="" id="{772C3D2F-8960-44D6-9266-F572654C148F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90000"/>
          </a:blip>
          <a:stretch>
            <a:fillRect/>
          </a:stretch>
        </p:blipFill>
        <p:spPr>
          <a:xfrm>
            <a:off x="5772036" y="3429000"/>
            <a:ext cx="648000" cy="648000"/>
          </a:xfrm>
          <a:prstGeom prst="rect">
            <a:avLst/>
          </a:prstGeom>
          <a:effectLst>
            <a:glow rad="127000">
              <a:schemeClr val="bg1"/>
            </a:glow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96022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0" grpId="0" animBg="1"/>
      <p:bldP spid="12" grpId="0" animBg="1"/>
      <p:bldP spid="16" grpId="0" animBg="1"/>
      <p:bldP spid="26" grpId="0" animBg="1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816A8A4C-3A6E-4846-B391-61AFAEDCC3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Lebhafte Communi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9B0F151F-D645-4704-95FC-5F150929E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pic>
        <p:nvPicPr>
          <p:cNvPr id="9" name="Inhaltsplatzhalter 8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CC480D38-A4EB-46EE-8B51-88B81D63B2F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730650" y="1668810"/>
            <a:ext cx="5313705" cy="41767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241B99D6-4AF2-43C3-A8C3-212304535C5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BB02D373-3E42-408C-952C-82D3F4E02B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447490" name="Picture 2" descr="Ein Bild, das Wand, Tisch, drinnen, Schreibtisch enthält.&#10;&#10;Automatisch generierte Beschreibung">
            <a:extLst>
              <a:ext uri="{FF2B5EF4-FFF2-40B4-BE49-F238E27FC236}">
                <a16:creationId xmlns:a16="http://schemas.microsoft.com/office/drawing/2014/main" xmlns="" id="{A26F3BA1-1487-48BA-9C03-76B1C77614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231" y="981772"/>
            <a:ext cx="2785216" cy="185739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7492" name="Picture 4" descr="Ein Bild, das Wand, drinnen enthält.&#10;&#10;Automatisch generierte Beschreibung">
            <a:extLst>
              <a:ext uri="{FF2B5EF4-FFF2-40B4-BE49-F238E27FC236}">
                <a16:creationId xmlns:a16="http://schemas.microsoft.com/office/drawing/2014/main" xmlns="" id="{1B8EA7F5-0101-497E-AA04-D49406F33E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8516" y="1542964"/>
            <a:ext cx="3219816" cy="365058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7491" name="Picture 3" descr="Ein Bild, das Person enthält.&#10;&#10;Automatisch generierte Beschreibung">
            <a:extLst>
              <a:ext uri="{FF2B5EF4-FFF2-40B4-BE49-F238E27FC236}">
                <a16:creationId xmlns:a16="http://schemas.microsoft.com/office/drawing/2014/main" xmlns="" id="{822B5E45-E6AC-4D0D-A6AC-B166BFCD6E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4534" y="4232728"/>
            <a:ext cx="3275882" cy="218460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74660328-B8F6-4A6E-94AA-AB24CA084885}"/>
              </a:ext>
            </a:extLst>
          </p:cNvPr>
          <p:cNvSpPr/>
          <p:nvPr/>
        </p:nvSpPr>
        <p:spPr>
          <a:xfrm>
            <a:off x="911424" y="1700808"/>
            <a:ext cx="504056" cy="248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431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E5FC9888-A145-41BD-94AD-6F1101D3C4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rojektauszug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="" id="{D74AA672-EE8C-4682-879C-112B3CB7B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Vernetzung im Immobilienmanagem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1FED2743-3DA9-40D2-90BD-DF146303EA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FEA10C7-20F0-4DF7-A499-D39E91C008AE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ECA959C4-669D-478D-A81D-A7CBB52918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3E3E91C3-B240-4BE2-9B81-2993683030ED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935036" y="1520750"/>
            <a:ext cx="2851200" cy="180053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xmlns="" id="{6C932E62-B66F-4190-B2B4-866FA4CE36C1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369463" y="1520748"/>
            <a:ext cx="2851200" cy="1800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31FE413D-2DBE-467A-B7D4-6BD1FF0129A1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69463" y="4040200"/>
            <a:ext cx="2851200" cy="1800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xmlns="" id="{5D8DFAA1-97CB-4BC5-A05F-3EA3129CAF7C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7930979" y="4040200"/>
            <a:ext cx="2851200" cy="1800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xmlns="" id="{A0E7DFEA-5899-45A5-99D9-43188F19B7A4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4152249" y="4040200"/>
            <a:ext cx="2851200" cy="18000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xmlns="" id="{28F0BD02-7D4E-4EDC-8353-AFC1EBFB7C0F}"/>
              </a:ext>
            </a:extLst>
          </p:cNvPr>
          <p:cNvSpPr txBox="1"/>
          <p:nvPr/>
        </p:nvSpPr>
        <p:spPr>
          <a:xfrm>
            <a:off x="4139991" y="3320748"/>
            <a:ext cx="27145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Millennium Tower</a:t>
            </a:r>
          </a:p>
          <a:p>
            <a:r>
              <a:rPr lang="de-DE" sz="1200" dirty="0"/>
              <a:t>Ar</a:t>
            </a:r>
            <a:r>
              <a:rPr lang="en-US" sz="1200" dirty="0"/>
              <a:t>t-Invest Real Estat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xmlns="" id="{7811AED8-9EAF-4CA5-B259-A31C4690CD72}"/>
              </a:ext>
            </a:extLst>
          </p:cNvPr>
          <p:cNvSpPr txBox="1"/>
          <p:nvPr/>
        </p:nvSpPr>
        <p:spPr>
          <a:xfrm>
            <a:off x="7930979" y="5840200"/>
            <a:ext cx="29883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Park Apartments am Belvedere</a:t>
            </a:r>
          </a:p>
          <a:p>
            <a:r>
              <a:rPr lang="de-DE" sz="1200" dirty="0"/>
              <a:t>SIGNA Real Estat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xmlns="" id="{76E08B64-6B30-43B4-835B-290FB73BBD15}"/>
              </a:ext>
            </a:extLst>
          </p:cNvPr>
          <p:cNvSpPr txBox="1"/>
          <p:nvPr/>
        </p:nvSpPr>
        <p:spPr>
          <a:xfrm>
            <a:off x="369461" y="5840200"/>
            <a:ext cx="25963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Fifty-Five</a:t>
            </a:r>
          </a:p>
          <a:p>
            <a:r>
              <a:rPr lang="de-DE" sz="1200" dirty="0" err="1"/>
              <a:t>amisola</a:t>
            </a:r>
            <a:r>
              <a:rPr lang="de-DE" sz="1200" dirty="0"/>
              <a:t> AG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xmlns="" id="{CA0F28B8-3BEC-4068-BC19-192F02EAFD0D}"/>
              </a:ext>
            </a:extLst>
          </p:cNvPr>
          <p:cNvSpPr txBox="1"/>
          <p:nvPr/>
        </p:nvSpPr>
        <p:spPr>
          <a:xfrm>
            <a:off x="369461" y="3320748"/>
            <a:ext cx="2690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Schwabinger Tor</a:t>
            </a:r>
          </a:p>
          <a:p>
            <a:r>
              <a:rPr lang="de-DE" sz="1200" dirty="0"/>
              <a:t>Jost </a:t>
            </a:r>
            <a:r>
              <a:rPr lang="de-DE" sz="1200" dirty="0" err="1"/>
              <a:t>Hurler</a:t>
            </a:r>
            <a:r>
              <a:rPr lang="de-DE" sz="1200" dirty="0"/>
              <a:t> Grupp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xmlns="" id="{0538A1BE-A2ED-406F-AB87-82769CE413E6}"/>
              </a:ext>
            </a:extLst>
          </p:cNvPr>
          <p:cNvSpPr txBox="1"/>
          <p:nvPr/>
        </p:nvSpPr>
        <p:spPr>
          <a:xfrm>
            <a:off x="7935036" y="3331282"/>
            <a:ext cx="25963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Pfarrwiesengasse</a:t>
            </a:r>
          </a:p>
          <a:p>
            <a:r>
              <a:rPr lang="de-DE" sz="1200" dirty="0"/>
              <a:t>BUWOG </a:t>
            </a:r>
            <a:r>
              <a:rPr lang="de-DE" sz="1200" dirty="0" err="1"/>
              <a:t>group</a:t>
            </a:r>
            <a:endParaRPr lang="de-DE" sz="1200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xmlns="" id="{645A5A7B-6473-4C43-AE7F-993EB217E94D}"/>
              </a:ext>
            </a:extLst>
          </p:cNvPr>
          <p:cNvSpPr txBox="1"/>
          <p:nvPr/>
        </p:nvSpPr>
        <p:spPr>
          <a:xfrm>
            <a:off x="4150328" y="5845193"/>
            <a:ext cx="3198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Westside Tower</a:t>
            </a:r>
          </a:p>
          <a:p>
            <a:r>
              <a:rPr lang="de-DE" sz="1200" dirty="0"/>
              <a:t>CAPERA Immobilien Service GmbH</a:t>
            </a:r>
          </a:p>
        </p:txBody>
      </p:sp>
      <p:pic>
        <p:nvPicPr>
          <p:cNvPr id="15" name="Inhaltsplatzhalter 14" descr="Ein Bild, das draußen, Wasser, Himmel, Fluss enthält.&#10;&#10;Automatisch generierte Beschreibung">
            <a:extLst>
              <a:ext uri="{FF2B5EF4-FFF2-40B4-BE49-F238E27FC236}">
                <a16:creationId xmlns:a16="http://schemas.microsoft.com/office/drawing/2014/main" xmlns="" id="{A2276CD6-51FF-4482-BED2-A1F833EE72D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8"/>
          <a:srcRect l="7148" r="5970" b="17724"/>
          <a:stretch/>
        </p:blipFill>
        <p:spPr>
          <a:xfrm>
            <a:off x="4161485" y="1520748"/>
            <a:ext cx="2851200" cy="1800000"/>
          </a:xfrm>
        </p:spPr>
      </p:pic>
      <p:pic>
        <p:nvPicPr>
          <p:cNvPr id="7" name="Grafik 6" descr="Ein Bild, das Regenschirm, Zubehör enthält.&#10;&#10;Automatisch generierte Beschreibung">
            <a:extLst>
              <a:ext uri="{FF2B5EF4-FFF2-40B4-BE49-F238E27FC236}">
                <a16:creationId xmlns:a16="http://schemas.microsoft.com/office/drawing/2014/main" xmlns="" id="{C0EB088D-8B28-4B38-8218-4D107971345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837473B0-CC2E-450A-ABE3-18F120FF3D39}">
                <a1611:picAttrSrcUrl xmlns:a1611="http://schemas.microsoft.com/office/drawing/2016/11/main" xmlns="" r:id="rId10"/>
              </a:ext>
            </a:extLst>
          </a:blip>
          <a:stretch>
            <a:fillRect/>
          </a:stretch>
        </p:blipFill>
        <p:spPr>
          <a:xfrm>
            <a:off x="10415711" y="1628800"/>
            <a:ext cx="275784" cy="371843"/>
          </a:xfrm>
          <a:prstGeom prst="rect">
            <a:avLst/>
          </a:prstGeom>
        </p:spPr>
      </p:pic>
      <p:pic>
        <p:nvPicPr>
          <p:cNvPr id="20" name="Grafik 19" descr="Ein Bild, das Regenschirm, Zubehör enthält.&#10;&#10;Automatisch generierte Beschreibung">
            <a:extLst>
              <a:ext uri="{FF2B5EF4-FFF2-40B4-BE49-F238E27FC236}">
                <a16:creationId xmlns:a16="http://schemas.microsoft.com/office/drawing/2014/main" xmlns="" id="{53BA88F2-E837-4480-8AA0-72DF78D1D0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837473B0-CC2E-450A-ABE3-18F120FF3D39}">
                <a1611:picAttrSrcUrl xmlns:a1611="http://schemas.microsoft.com/office/drawing/2016/11/main" xmlns="" r:id="rId10"/>
              </a:ext>
            </a:extLst>
          </a:blip>
          <a:stretch>
            <a:fillRect/>
          </a:stretch>
        </p:blipFill>
        <p:spPr>
          <a:xfrm>
            <a:off x="8223812" y="4228810"/>
            <a:ext cx="275784" cy="371843"/>
          </a:xfrm>
          <a:prstGeom prst="rect">
            <a:avLst/>
          </a:prstGeom>
        </p:spPr>
      </p:pic>
      <p:pic>
        <p:nvPicPr>
          <p:cNvPr id="28" name="Grafik 27" descr="Ein Bild, das Regenschirm, Zubehör enthält.&#10;&#10;Automatisch generierte Beschreibung">
            <a:extLst>
              <a:ext uri="{FF2B5EF4-FFF2-40B4-BE49-F238E27FC236}">
                <a16:creationId xmlns:a16="http://schemas.microsoft.com/office/drawing/2014/main" xmlns="" id="{72A9A954-B74C-4A4C-8797-69B1D31B19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837473B0-CC2E-450A-ABE3-18F120FF3D39}">
                <a1611:picAttrSrcUrl xmlns:a1611="http://schemas.microsoft.com/office/drawing/2016/11/main" xmlns="" r:id="rId10"/>
              </a:ext>
            </a:extLst>
          </a:blip>
          <a:stretch>
            <a:fillRect/>
          </a:stretch>
        </p:blipFill>
        <p:spPr>
          <a:xfrm>
            <a:off x="6119495" y="1636274"/>
            <a:ext cx="275784" cy="371843"/>
          </a:xfrm>
          <a:prstGeom prst="rect">
            <a:avLst/>
          </a:prstGeom>
        </p:spPr>
      </p:pic>
      <p:pic>
        <p:nvPicPr>
          <p:cNvPr id="29" name="Grafik 28" descr="Ein Bild, das Regenschirm, Zubehör enthält.&#10;&#10;Automatisch generierte Beschreibung">
            <a:extLst>
              <a:ext uri="{FF2B5EF4-FFF2-40B4-BE49-F238E27FC236}">
                <a16:creationId xmlns:a16="http://schemas.microsoft.com/office/drawing/2014/main" xmlns="" id="{37607A8E-3E5D-4D33-9BCC-B1DC83832F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837473B0-CC2E-450A-ABE3-18F120FF3D39}">
                <a1611:picAttrSrcUrl xmlns:a1611="http://schemas.microsoft.com/office/drawing/2016/11/main" xmlns="" r:id="rId10"/>
              </a:ext>
            </a:extLst>
          </a:blip>
          <a:stretch>
            <a:fillRect/>
          </a:stretch>
        </p:blipFill>
        <p:spPr>
          <a:xfrm>
            <a:off x="407368" y="4163720"/>
            <a:ext cx="275784" cy="371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301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859BD91E-A042-4C42-9885-0F229E57D6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raxisbeispiel: Pfarrwiesengasse 23, Wien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B336F69E-D405-4106-A468-6F23123F5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duktvorstellung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xmlns="" id="{8C14B8C3-DF37-4F85-A7BF-576B9738D9F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71475" y="2088158"/>
            <a:ext cx="5616575" cy="3546871"/>
          </a:xfrm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xmlns="" id="{C5CBE02D-5192-4798-9BA9-3A50FCB8086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0" y="3105720"/>
            <a:ext cx="5616575" cy="1511746"/>
          </a:xfrm>
        </p:spPr>
        <p:txBody>
          <a:bodyPr/>
          <a:lstStyle/>
          <a:p>
            <a:pPr lvl="2"/>
            <a:r>
              <a:rPr lang="de-DE" sz="1600" dirty="0"/>
              <a:t>Bauträger: BUWOG </a:t>
            </a:r>
            <a:r>
              <a:rPr lang="de-DE" sz="1600" dirty="0" err="1"/>
              <a:t>group</a:t>
            </a:r>
            <a:endParaRPr lang="de-DE" sz="1600" dirty="0"/>
          </a:p>
          <a:p>
            <a:pPr lvl="2"/>
            <a:r>
              <a:rPr lang="de-DE" sz="1600" dirty="0"/>
              <a:t>Online-Raumbuchung</a:t>
            </a:r>
          </a:p>
          <a:p>
            <a:pPr lvl="2"/>
            <a:r>
              <a:rPr lang="de-DE" sz="1600" dirty="0"/>
              <a:t>Elektronische Zutrittskontrolle</a:t>
            </a:r>
          </a:p>
          <a:p>
            <a:pPr lvl="2"/>
            <a:r>
              <a:rPr lang="de-DE" sz="1600" dirty="0"/>
              <a:t>Paketzustell-Station</a:t>
            </a:r>
          </a:p>
          <a:p>
            <a:pPr lvl="2"/>
            <a:r>
              <a:rPr lang="de-DE" sz="1600" dirty="0"/>
              <a:t>Anbindung Concierge-Diens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xmlns="" id="{378CDFBF-F1BC-4D1D-B15A-71C972A6A11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FFC5583-7188-431B-924F-6FFE5042829A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E377180C-7666-49E3-9F32-C449ECF95E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8" name="Grafik 7" descr="Ein Bild, das Metallwaren enthält.&#10;&#10;Automatisch generierte Beschreibung">
            <a:extLst>
              <a:ext uri="{FF2B5EF4-FFF2-40B4-BE49-F238E27FC236}">
                <a16:creationId xmlns:a16="http://schemas.microsoft.com/office/drawing/2014/main" xmlns="" id="{8C286B09-B19D-48B5-9A33-567BF2AE46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456892"/>
            <a:ext cx="1197320" cy="449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16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3FEC528B-D010-47BD-82B3-D5B3064617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Raumbuchun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4611B4B1-92B5-497E-ABE3-9ADF0620C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duktvorstellung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xmlns="" id="{61931DDA-AC2C-4DFE-B75D-937FE4E69D8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xmlns="" id="{1BDC7609-A29D-43EA-9F1A-6F96BCF8A1B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03950" y="3573550"/>
            <a:ext cx="5616575" cy="611646"/>
          </a:xfrm>
        </p:spPr>
        <p:txBody>
          <a:bodyPr/>
          <a:lstStyle/>
          <a:p>
            <a:pPr lvl="2"/>
            <a:r>
              <a:rPr lang="de-DE" sz="1600" dirty="0"/>
              <a:t>Gemeinsam genutzte Ressourcen online buchen</a:t>
            </a:r>
          </a:p>
          <a:p>
            <a:pPr lvl="2"/>
            <a:r>
              <a:rPr lang="de-DE" sz="1600" dirty="0"/>
              <a:t>Koppelung mit elektronischem Türöffnungssystem</a:t>
            </a:r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xmlns="" id="{9F650F2D-9749-4CBA-9DB0-3F90BB6C4C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E3B4F10-A9F5-44B5-85E5-2EEF43B53155}" type="datetime1">
              <a:rPr lang="de-DE" smtClean="0"/>
              <a:t>04.09.2019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CE82C51-5E1A-40F2-92BC-EAC149E19C6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|</a:t>
            </a:r>
            <a:r>
              <a:rPr lang="de-DE" b="1"/>
              <a:t> </a:t>
            </a:r>
            <a:r>
              <a:rPr lang="de-DE"/>
              <a:t>Seite </a:t>
            </a:r>
            <a:fld id="{8A0B9F3C-E4EC-4E6F-90C2-1FD8FD0BF77B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6E1F812B-E271-4C9D-A2E4-9008B40421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53" t="13403" r="25567" b="29372"/>
          <a:stretch/>
        </p:blipFill>
        <p:spPr>
          <a:xfrm>
            <a:off x="380777" y="1772816"/>
            <a:ext cx="5671133" cy="417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37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LhnGBwQsWIh3QJFaB7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LhnGBwQsWIh3QJFaB7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tRdL.JTO2qFq5vjFaT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iureTaR0SvY1XQlt7V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KMHUuDQ8yfG6jGyyMo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KMHUuDQ8yfG6jGyyMo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KMHUuDQ8yfG6jGyyMo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vtuF_ZTe6kvGGHXtE9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e3UypdT1S3zMvL.Gj6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rBGHVSRmeidsNQf35L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pjeFapRO.3HPQDmIva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.UBgrGSduzQk4uxbLs7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.UBgrGSduzQk4uxbLs7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DwmGn4TZ6b66djYNDj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g7jbJNQZ6_C7CV2Fp9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.UBgrGSduzQk4uxbLs7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hLGlv0TwOEES7ZQhaA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5Q4srHSgyFk0IEOUJZ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DoqndgROynQq3dqua27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.uLpxZSOq0fy.NKcdGY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DoqndgROynQq3dqua2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SSDrvQg.OUXhqjivCK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SSDrvQg.OUXhqjivC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0hkz17QF2_rpz3dETT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DoqndgROynQq3dqua27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LDWwb4SnaILUJcuuJh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vdZT0ToyFOyxZ0WHd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vtuF_ZTe6kvGGHXtE9b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F4nHpFRsKJ_jjUdZRM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s9.PQTQgSRVgVJeHDz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LhnGBwQsWIh3QJFaB7LA"/>
</p:tagLst>
</file>

<file path=ppt/theme/theme1.xml><?xml version="1.0" encoding="utf-8"?>
<a:theme xmlns:a="http://schemas.openxmlformats.org/drawingml/2006/main" name="casavi 16 x 9">
  <a:themeElements>
    <a:clrScheme name="CAS">
      <a:dk1>
        <a:srgbClr val="3C5064"/>
      </a:dk1>
      <a:lt1>
        <a:srgbClr val="FFFFFF"/>
      </a:lt1>
      <a:dk2>
        <a:srgbClr val="0096A5"/>
      </a:dk2>
      <a:lt2>
        <a:srgbClr val="FD3156"/>
      </a:lt2>
      <a:accent1>
        <a:srgbClr val="3C5064"/>
      </a:accent1>
      <a:accent2>
        <a:srgbClr val="0096A5"/>
      </a:accent2>
      <a:accent3>
        <a:srgbClr val="00E2D2"/>
      </a:accent3>
      <a:accent4>
        <a:srgbClr val="DAF9F4"/>
      </a:accent4>
      <a:accent5>
        <a:srgbClr val="B1BAC1"/>
      </a:accent5>
      <a:accent6>
        <a:srgbClr val="EEF2F5"/>
      </a:accent6>
      <a:hlink>
        <a:srgbClr val="0096A5"/>
      </a:hlink>
      <a:folHlink>
        <a:srgbClr val="0096A5"/>
      </a:folHlink>
    </a:clrScheme>
    <a:fontScheme name="casavi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1" id="{50760240-27CA-4C26-9FF1-CAE50151EA0F}" vid="{B7BE93F8-1AFC-474F-AFD9-A558C29383E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savi Unternehmensvorstellung - Kompakt</Template>
  <TotalTime>0</TotalTime>
  <Words>560</Words>
  <Application>Microsoft Office PowerPoint</Application>
  <PresentationFormat>Breitbild</PresentationFormat>
  <Paragraphs>203</Paragraphs>
  <Slides>17</Slides>
  <Notes>13</Notes>
  <HiddenSlides>3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5" baseType="lpstr">
      <vt:lpstr>Montserrat SemiBold</vt:lpstr>
      <vt:lpstr>Wingdings 2</vt:lpstr>
      <vt:lpstr>Montserrat</vt:lpstr>
      <vt:lpstr>Calibri</vt:lpstr>
      <vt:lpstr>Arial</vt:lpstr>
      <vt:lpstr>Mongolian Baiti</vt:lpstr>
      <vt:lpstr>casavi 16 x 9</vt:lpstr>
      <vt:lpstr>think-cell Folie</vt:lpstr>
      <vt:lpstr>Digitale Vernetzung im Immobilienmanagement</vt:lpstr>
      <vt:lpstr>Digitale Vernetzung im Immobilienmanagement</vt:lpstr>
      <vt:lpstr>Digitale Vernetzung im Immobilienmanagement</vt:lpstr>
      <vt:lpstr>Digitale Vernetzung im Immobilienmanagement</vt:lpstr>
      <vt:lpstr>Digitale Vernetzung im Immobilienmanagement</vt:lpstr>
      <vt:lpstr>Digitale Vernetzung im Immobilienmanagement</vt:lpstr>
      <vt:lpstr>Digitale Vernetzung im Immobilienmanagement</vt:lpstr>
      <vt:lpstr>Produktvorstellung</vt:lpstr>
      <vt:lpstr>Produktvorstellung</vt:lpstr>
      <vt:lpstr>Produktvorstellung</vt:lpstr>
      <vt:lpstr>Digitale Vernetzung im Immobilienmanagement</vt:lpstr>
      <vt:lpstr>Digitale Vernetzung im Immobilienmanagement</vt:lpstr>
      <vt:lpstr>Digitale Vernetzung im Immobilienmanagement</vt:lpstr>
      <vt:lpstr>Kontakt</vt:lpstr>
      <vt:lpstr>Digitale Vernetzung im Immobilienmanagement</vt:lpstr>
      <vt:lpstr>PowerPoint-Präsentation</vt:lpstr>
      <vt:lpstr>Digitale Vernetzung im Immobilienmanageme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avi CONNECT</dc:title>
  <dc:creator>Peter Schindlmeier</dc:creator>
  <cp:lastModifiedBy>Sungler Sophia</cp:lastModifiedBy>
  <cp:revision>36</cp:revision>
  <cp:lastPrinted>2019-01-30T10:34:25Z</cp:lastPrinted>
  <dcterms:created xsi:type="dcterms:W3CDTF">2019-05-29T15:42:48Z</dcterms:created>
  <dcterms:modified xsi:type="dcterms:W3CDTF">2019-09-04T21:23:31Z</dcterms:modified>
</cp:coreProperties>
</file>